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2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3.xml" ContentType="application/vnd.openxmlformats-officedocument.theme+xml"/>
  <Override PartName="/ppt/tags/tag194.xml" ContentType="application/vnd.openxmlformats-officedocument.presentationml.tags+xml"/>
  <Override PartName="/ppt/notesSlides/notesSlide1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2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3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4.xml" ContentType="application/vnd.openxmlformats-officedocument.presentationml.notesSl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5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6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notesSlides/notesSlide7.xml" ContentType="application/vnd.openxmlformats-officedocument.presentationml.notesSl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8.xml" ContentType="application/vnd.openxmlformats-officedocument.presentationml.notesSl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9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0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11.xml" ContentType="application/vnd.openxmlformats-officedocument.presentationml.notesSl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12.xml" ContentType="application/vnd.openxmlformats-officedocument.presentationml.notesSl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13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14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15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16.xml" ContentType="application/vnd.openxmlformats-officedocument.presentationml.notesSlid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notesSlides/notesSlide17.xml" ContentType="application/vnd.openxmlformats-officedocument.presentationml.notesSl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18.xml" ContentType="application/vnd.openxmlformats-officedocument.presentationml.notesSl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19.xml" ContentType="application/vnd.openxmlformats-officedocument.presentationml.notesSlide+xml"/>
  <Override PartName="/ppt/tags/tag23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  <p:sldMasterId id="2147483766" r:id="rId4"/>
  </p:sldMasterIdLst>
  <p:notesMasterIdLst>
    <p:notesMasterId r:id="rId50"/>
  </p:notesMasterIdLst>
  <p:sldIdLst>
    <p:sldId id="275" r:id="rId5"/>
    <p:sldId id="2147378215" r:id="rId6"/>
    <p:sldId id="2147378119" r:id="rId7"/>
    <p:sldId id="2147470368" r:id="rId8"/>
    <p:sldId id="2147470358" r:id="rId9"/>
    <p:sldId id="2147470373" r:id="rId10"/>
    <p:sldId id="2147470375" r:id="rId11"/>
    <p:sldId id="2147470381" r:id="rId12"/>
    <p:sldId id="2147470377" r:id="rId13"/>
    <p:sldId id="2147470372" r:id="rId14"/>
    <p:sldId id="2147470376" r:id="rId15"/>
    <p:sldId id="2147470379" r:id="rId16"/>
    <p:sldId id="2147470378" r:id="rId17"/>
    <p:sldId id="2147470371" r:id="rId18"/>
    <p:sldId id="2147470374" r:id="rId19"/>
    <p:sldId id="2147470380" r:id="rId20"/>
    <p:sldId id="2147470370" r:id="rId21"/>
    <p:sldId id="2147470359" r:id="rId22"/>
    <p:sldId id="2147470382" r:id="rId23"/>
    <p:sldId id="2147470383" r:id="rId24"/>
    <p:sldId id="2147470384" r:id="rId25"/>
    <p:sldId id="2147470387" r:id="rId26"/>
    <p:sldId id="2147470405" r:id="rId27"/>
    <p:sldId id="2147470386" r:id="rId28"/>
    <p:sldId id="2147470385" r:id="rId29"/>
    <p:sldId id="2147470389" r:id="rId30"/>
    <p:sldId id="2147470388" r:id="rId31"/>
    <p:sldId id="2147470390" r:id="rId32"/>
    <p:sldId id="2147470391" r:id="rId33"/>
    <p:sldId id="2147470392" r:id="rId34"/>
    <p:sldId id="2147470393" r:id="rId35"/>
    <p:sldId id="2147470394" r:id="rId36"/>
    <p:sldId id="2147470395" r:id="rId37"/>
    <p:sldId id="2147470396" r:id="rId38"/>
    <p:sldId id="2147470397" r:id="rId39"/>
    <p:sldId id="2147470398" r:id="rId40"/>
    <p:sldId id="2147470399" r:id="rId41"/>
    <p:sldId id="2147470401" r:id="rId42"/>
    <p:sldId id="2147470402" r:id="rId43"/>
    <p:sldId id="2147470400" r:id="rId44"/>
    <p:sldId id="2147470403" r:id="rId45"/>
    <p:sldId id="2147470404" r:id="rId46"/>
    <p:sldId id="2147470364" r:id="rId47"/>
    <p:sldId id="2147470365" r:id="rId48"/>
    <p:sldId id="2147470366" r:id="rId49"/>
  </p:sldIdLst>
  <p:sldSz cx="12192000" cy="6858000"/>
  <p:notesSz cx="6858000" cy="9144000"/>
  <p:custDataLst>
    <p:tags r:id="rId5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Page" id="{288F8A61-BC9A-4ECC-9BC0-B94FE75E74FB}">
          <p14:sldIdLst>
            <p14:sldId id="275"/>
          </p14:sldIdLst>
        </p14:section>
        <p14:section name="Project Background" id="{F91F1F1F-3387-44B8-824A-4010B376760E}">
          <p14:sldIdLst>
            <p14:sldId id="2147378215"/>
            <p14:sldId id="2147378119"/>
            <p14:sldId id="2147470368"/>
            <p14:sldId id="2147470358"/>
          </p14:sldIdLst>
        </p14:section>
        <p14:section name="Assessment SOP" id="{CBD394E0-D897-42EB-960D-24D58369B5BC}">
          <p14:sldIdLst>
            <p14:sldId id="2147470373"/>
            <p14:sldId id="2147470375"/>
            <p14:sldId id="2147470381"/>
            <p14:sldId id="2147470377"/>
            <p14:sldId id="2147470372"/>
            <p14:sldId id="2147470376"/>
            <p14:sldId id="2147470379"/>
            <p14:sldId id="2147470378"/>
          </p14:sldIdLst>
        </p14:section>
        <p14:section name="Sales" id="{6E41E061-453A-4B73-8A60-D010E41562C0}">
          <p14:sldIdLst>
            <p14:sldId id="2147470371"/>
            <p14:sldId id="2147470374"/>
            <p14:sldId id="2147470380"/>
            <p14:sldId id="2147470370"/>
            <p14:sldId id="2147470359"/>
          </p14:sldIdLst>
        </p14:section>
        <p14:section name="Customer Master Data" id="{2C54E832-E581-4CE9-98B5-926BBE1C5A75}">
          <p14:sldIdLst>
            <p14:sldId id="2147470382"/>
            <p14:sldId id="2147470383"/>
            <p14:sldId id="2147470384"/>
            <p14:sldId id="2147470387"/>
            <p14:sldId id="2147470405"/>
            <p14:sldId id="2147470386"/>
            <p14:sldId id="2147470385"/>
            <p14:sldId id="2147470389"/>
            <p14:sldId id="2147470388"/>
            <p14:sldId id="2147470390"/>
            <p14:sldId id="2147470391"/>
            <p14:sldId id="2147470392"/>
            <p14:sldId id="2147470393"/>
            <p14:sldId id="2147470394"/>
            <p14:sldId id="2147470395"/>
            <p14:sldId id="2147470396"/>
            <p14:sldId id="2147470397"/>
            <p14:sldId id="2147470398"/>
            <p14:sldId id="2147470399"/>
            <p14:sldId id="2147470401"/>
            <p14:sldId id="2147470402"/>
            <p14:sldId id="2147470400"/>
            <p14:sldId id="2147470403"/>
            <p14:sldId id="2147470404"/>
          </p14:sldIdLst>
        </p14:section>
        <p14:section name="Product Master Data" id="{D39B7595-0AA8-4974-AF81-DFD0A0176995}">
          <p14:sldIdLst/>
        </p14:section>
        <p14:section name="Position Master Data" id="{9310EA76-EFC5-46A1-B312-E885EE998525}">
          <p14:sldIdLst/>
        </p14:section>
        <p14:section name="Campaign" id="{385832C9-F27B-4866-8A03-712ACC55C8F4}">
          <p14:sldIdLst/>
        </p14:section>
        <p14:section name="Call" id="{66E99A89-D08F-490E-965A-7977AA3D1765}">
          <p14:sldIdLst/>
        </p14:section>
        <p14:section name="Flag Enhancement" id="{79B0AA2D-21F2-4D2D-9943-3A7887231A86}">
          <p14:sldIdLst>
            <p14:sldId id="2147470364"/>
            <p14:sldId id="2147470365"/>
          </p14:sldIdLst>
        </p14:section>
        <p14:section name="2023Timeline" id="{0F13A196-87F9-42AD-BB47-A1F6232B510F}">
          <p14:sldIdLst/>
        </p14:section>
        <p14:section name="2024 Roadmap" id="{96CB387A-6B5B-4A8C-BE97-43646DA135AD}">
          <p14:sldIdLst>
            <p14:sldId id="214747036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5C00"/>
    <a:srgbClr val="01516F"/>
    <a:srgbClr val="658E49"/>
    <a:srgbClr val="0059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E793A0-DD64-4571-93D4-B7E1F4F99426}" v="89" dt="2024-01-03T02:37:52.1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0" autoAdjust="0"/>
    <p:restoredTop sz="94660"/>
  </p:normalViewPr>
  <p:slideViewPr>
    <p:cSldViewPr snapToGrid="0">
      <p:cViewPr varScale="1">
        <p:scale>
          <a:sx n="59" d="100"/>
          <a:sy n="59" d="100"/>
        </p:scale>
        <p:origin x="60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microsoft.com/office/2016/11/relationships/changesInfo" Target="changesInfos/changesInfo1.xml"/><Relationship Id="rId8" Type="http://schemas.openxmlformats.org/officeDocument/2006/relationships/slide" Target="slides/slide4.xml"/><Relationship Id="rId51" Type="http://schemas.openxmlformats.org/officeDocument/2006/relationships/tags" Target="tags/tag1.xml"/><Relationship Id="rId3" Type="http://schemas.openxmlformats.org/officeDocument/2006/relationships/slideMaster" Target="slideMasters/slide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n, Zhan" userId="b17be1ef-b653-40b9-8ecc-835af7efcb11" providerId="ADAL" clId="{F0E793A0-DD64-4571-93D4-B7E1F4F99426}"/>
    <pc:docChg chg="undo custSel addSld modSld sldOrd modSection">
      <pc:chgData name="Bin, Zhan" userId="b17be1ef-b653-40b9-8ecc-835af7efcb11" providerId="ADAL" clId="{F0E793A0-DD64-4571-93D4-B7E1F4F99426}" dt="2024-01-03T02:37:52.151" v="3752" actId="1076"/>
      <pc:docMkLst>
        <pc:docMk/>
      </pc:docMkLst>
      <pc:sldChg chg="addSp delSp modSp mod">
        <pc:chgData name="Bin, Zhan" userId="b17be1ef-b653-40b9-8ecc-835af7efcb11" providerId="ADAL" clId="{F0E793A0-DD64-4571-93D4-B7E1F4F99426}" dt="2024-01-02T05:35:46.445" v="3211" actId="20577"/>
        <pc:sldMkLst>
          <pc:docMk/>
          <pc:sldMk cId="2379511944" sldId="2147470385"/>
        </pc:sldMkLst>
        <pc:spChg chg="add del mod">
          <ac:chgData name="Bin, Zhan" userId="b17be1ef-b653-40b9-8ecc-835af7efcb11" providerId="ADAL" clId="{F0E793A0-DD64-4571-93D4-B7E1F4F99426}" dt="2023-12-26T05:14:14.664" v="5"/>
          <ac:spMkLst>
            <pc:docMk/>
            <pc:sldMk cId="2379511944" sldId="2147470385"/>
            <ac:spMk id="2" creationId="{ED035E57-8693-5A2C-4AA3-8ABEBA0A925D}"/>
          </ac:spMkLst>
        </pc:spChg>
        <pc:spChg chg="add del mod">
          <ac:chgData name="Bin, Zhan" userId="b17be1ef-b653-40b9-8ecc-835af7efcb11" providerId="ADAL" clId="{F0E793A0-DD64-4571-93D4-B7E1F4F99426}" dt="2023-12-26T05:14:11.217" v="3"/>
          <ac:spMkLst>
            <pc:docMk/>
            <pc:sldMk cId="2379511944" sldId="2147470385"/>
            <ac:spMk id="3" creationId="{35D224ED-D201-F927-A35C-3B275266D055}"/>
          </ac:spMkLst>
        </pc:spChg>
        <pc:spChg chg="mod">
          <ac:chgData name="Bin, Zhan" userId="b17be1ef-b653-40b9-8ecc-835af7efcb11" providerId="ADAL" clId="{F0E793A0-DD64-4571-93D4-B7E1F4F99426}" dt="2023-12-26T05:33:48.943" v="327" actId="20577"/>
          <ac:spMkLst>
            <pc:docMk/>
            <pc:sldMk cId="2379511944" sldId="2147470385"/>
            <ac:spMk id="4" creationId="{3CDD9887-8ED3-3FF4-98C5-897EF7155228}"/>
          </ac:spMkLst>
        </pc:spChg>
        <pc:spChg chg="add mod">
          <ac:chgData name="Bin, Zhan" userId="b17be1ef-b653-40b9-8ecc-835af7efcb11" providerId="ADAL" clId="{F0E793A0-DD64-4571-93D4-B7E1F4F99426}" dt="2023-12-27T06:26:38.053" v="1999" actId="20577"/>
          <ac:spMkLst>
            <pc:docMk/>
            <pc:sldMk cId="2379511944" sldId="2147470385"/>
            <ac:spMk id="5" creationId="{27FBD865-FE76-C988-48FA-712060A07C38}"/>
          </ac:spMkLst>
        </pc:spChg>
        <pc:spChg chg="add mod">
          <ac:chgData name="Bin, Zhan" userId="b17be1ef-b653-40b9-8ecc-835af7efcb11" providerId="ADAL" clId="{F0E793A0-DD64-4571-93D4-B7E1F4F99426}" dt="2023-12-26T05:31:28.048" v="274" actId="1076"/>
          <ac:spMkLst>
            <pc:docMk/>
            <pc:sldMk cId="2379511944" sldId="2147470385"/>
            <ac:spMk id="6" creationId="{42415E41-0CBA-83BF-5A9F-952F30D035CD}"/>
          </ac:spMkLst>
        </pc:spChg>
        <pc:spChg chg="add mod">
          <ac:chgData name="Bin, Zhan" userId="b17be1ef-b653-40b9-8ecc-835af7efcb11" providerId="ADAL" clId="{F0E793A0-DD64-4571-93D4-B7E1F4F99426}" dt="2024-01-02T05:35:46.445" v="3211" actId="20577"/>
          <ac:spMkLst>
            <pc:docMk/>
            <pc:sldMk cId="2379511944" sldId="2147470385"/>
            <ac:spMk id="7" creationId="{B44BC2F8-7F1B-2282-6A5B-C6373DD5CC97}"/>
          </ac:spMkLst>
        </pc:spChg>
        <pc:spChg chg="add mod">
          <ac:chgData name="Bin, Zhan" userId="b17be1ef-b653-40b9-8ecc-835af7efcb11" providerId="ADAL" clId="{F0E793A0-DD64-4571-93D4-B7E1F4F99426}" dt="2023-12-29T03:25:41.283" v="2300" actId="1076"/>
          <ac:spMkLst>
            <pc:docMk/>
            <pc:sldMk cId="2379511944" sldId="2147470385"/>
            <ac:spMk id="8" creationId="{A9C1BCF6-8BFF-897B-0C19-BC275A0EFE3A}"/>
          </ac:spMkLst>
        </pc:spChg>
      </pc:sldChg>
      <pc:sldChg chg="addSp delSp modSp new mod ord">
        <pc:chgData name="Bin, Zhan" userId="b17be1ef-b653-40b9-8ecc-835af7efcb11" providerId="ADAL" clId="{F0E793A0-DD64-4571-93D4-B7E1F4F99426}" dt="2024-01-02T07:06:11.386" v="3540" actId="20577"/>
        <pc:sldMkLst>
          <pc:docMk/>
          <pc:sldMk cId="3695527280" sldId="2147470386"/>
        </pc:sldMkLst>
        <pc:spChg chg="del mod">
          <ac:chgData name="Bin, Zhan" userId="b17be1ef-b653-40b9-8ecc-835af7efcb11" providerId="ADAL" clId="{F0E793A0-DD64-4571-93D4-B7E1F4F99426}" dt="2023-12-26T05:34:20.075" v="332" actId="478"/>
          <ac:spMkLst>
            <pc:docMk/>
            <pc:sldMk cId="3695527280" sldId="2147470386"/>
            <ac:spMk id="2" creationId="{D9177BE9-4028-594C-D24E-85DAAF062D10}"/>
          </ac:spMkLst>
        </pc:spChg>
        <pc:spChg chg="del">
          <ac:chgData name="Bin, Zhan" userId="b17be1ef-b653-40b9-8ecc-835af7efcb11" providerId="ADAL" clId="{F0E793A0-DD64-4571-93D4-B7E1F4F99426}" dt="2023-12-26T05:34:12.652" v="330" actId="478"/>
          <ac:spMkLst>
            <pc:docMk/>
            <pc:sldMk cId="3695527280" sldId="2147470386"/>
            <ac:spMk id="3" creationId="{1F13920F-6975-7FFC-6A81-983526C112DD}"/>
          </ac:spMkLst>
        </pc:spChg>
        <pc:spChg chg="add mod">
          <ac:chgData name="Bin, Zhan" userId="b17be1ef-b653-40b9-8ecc-835af7efcb11" providerId="ADAL" clId="{F0E793A0-DD64-4571-93D4-B7E1F4F99426}" dt="2023-12-26T05:34:49.242" v="333"/>
          <ac:spMkLst>
            <pc:docMk/>
            <pc:sldMk cId="3695527280" sldId="2147470386"/>
            <ac:spMk id="4" creationId="{C7A1983A-831A-4536-FEED-338832A93684}"/>
          </ac:spMkLst>
        </pc:spChg>
        <pc:spChg chg="add del">
          <ac:chgData name="Bin, Zhan" userId="b17be1ef-b653-40b9-8ecc-835af7efcb11" providerId="ADAL" clId="{F0E793A0-DD64-4571-93D4-B7E1F4F99426}" dt="2023-12-26T05:36:33.884" v="353" actId="22"/>
          <ac:spMkLst>
            <pc:docMk/>
            <pc:sldMk cId="3695527280" sldId="2147470386"/>
            <ac:spMk id="6" creationId="{28CDB5CA-A0A9-99E4-FD78-448BAFB7A17A}"/>
          </ac:spMkLst>
        </pc:spChg>
        <pc:spChg chg="add mod">
          <ac:chgData name="Bin, Zhan" userId="b17be1ef-b653-40b9-8ecc-835af7efcb11" providerId="ADAL" clId="{F0E793A0-DD64-4571-93D4-B7E1F4F99426}" dt="2024-01-02T07:06:11.386" v="3540" actId="20577"/>
          <ac:spMkLst>
            <pc:docMk/>
            <pc:sldMk cId="3695527280" sldId="2147470386"/>
            <ac:spMk id="7" creationId="{314734DB-A6B9-8B81-7E17-E46F18FEDF0C}"/>
          </ac:spMkLst>
        </pc:spChg>
        <pc:spChg chg="add mod">
          <ac:chgData name="Bin, Zhan" userId="b17be1ef-b653-40b9-8ecc-835af7efcb11" providerId="ADAL" clId="{F0E793A0-DD64-4571-93D4-B7E1F4F99426}" dt="2024-01-02T07:01:28.802" v="3505" actId="20577"/>
          <ac:spMkLst>
            <pc:docMk/>
            <pc:sldMk cId="3695527280" sldId="2147470386"/>
            <ac:spMk id="8" creationId="{96F36342-4CCC-FF14-B629-DDAA7AFDA718}"/>
          </ac:spMkLst>
        </pc:spChg>
        <pc:spChg chg="add mod">
          <ac:chgData name="Bin, Zhan" userId="b17be1ef-b653-40b9-8ecc-835af7efcb11" providerId="ADAL" clId="{F0E793A0-DD64-4571-93D4-B7E1F4F99426}" dt="2024-01-02T07:01:10.500" v="3483" actId="20577"/>
          <ac:spMkLst>
            <pc:docMk/>
            <pc:sldMk cId="3695527280" sldId="2147470386"/>
            <ac:spMk id="9" creationId="{8808AC52-BA66-D483-423E-584BB9DFE836}"/>
          </ac:spMkLst>
        </pc:spChg>
        <pc:spChg chg="add mod">
          <ac:chgData name="Bin, Zhan" userId="b17be1ef-b653-40b9-8ecc-835af7efcb11" providerId="ADAL" clId="{F0E793A0-DD64-4571-93D4-B7E1F4F99426}" dt="2024-01-02T07:01:14.120" v="3485" actId="20577"/>
          <ac:spMkLst>
            <pc:docMk/>
            <pc:sldMk cId="3695527280" sldId="2147470386"/>
            <ac:spMk id="10" creationId="{781EF889-82B6-A682-7292-1AEECC311495}"/>
          </ac:spMkLst>
        </pc:spChg>
        <pc:spChg chg="add mod">
          <ac:chgData name="Bin, Zhan" userId="b17be1ef-b653-40b9-8ecc-835af7efcb11" providerId="ADAL" clId="{F0E793A0-DD64-4571-93D4-B7E1F4F99426}" dt="2024-01-02T06:59:35.413" v="3398"/>
          <ac:spMkLst>
            <pc:docMk/>
            <pc:sldMk cId="3695527280" sldId="2147470386"/>
            <ac:spMk id="11" creationId="{BA504EAF-9637-F8CD-6E95-507A5658CEA2}"/>
          </ac:spMkLst>
        </pc:spChg>
        <pc:spChg chg="add mod">
          <ac:chgData name="Bin, Zhan" userId="b17be1ef-b653-40b9-8ecc-835af7efcb11" providerId="ADAL" clId="{F0E793A0-DD64-4571-93D4-B7E1F4F99426}" dt="2024-01-02T06:59:41.710" v="3406"/>
          <ac:spMkLst>
            <pc:docMk/>
            <pc:sldMk cId="3695527280" sldId="2147470386"/>
            <ac:spMk id="12" creationId="{9F8C6B45-3C90-C033-679F-FA4703E6BEF4}"/>
          </ac:spMkLst>
        </pc:spChg>
        <pc:spChg chg="add mod">
          <ac:chgData name="Bin, Zhan" userId="b17be1ef-b653-40b9-8ecc-835af7efcb11" providerId="ADAL" clId="{F0E793A0-DD64-4571-93D4-B7E1F4F99426}" dt="2024-01-02T07:00:12.670" v="3429" actId="20577"/>
          <ac:spMkLst>
            <pc:docMk/>
            <pc:sldMk cId="3695527280" sldId="2147470386"/>
            <ac:spMk id="13" creationId="{094C246D-AB4A-4EEF-E5D3-9D786ED1F0C4}"/>
          </ac:spMkLst>
        </pc:spChg>
        <pc:spChg chg="add mod">
          <ac:chgData name="Bin, Zhan" userId="b17be1ef-b653-40b9-8ecc-835af7efcb11" providerId="ADAL" clId="{F0E793A0-DD64-4571-93D4-B7E1F4F99426}" dt="2024-01-02T07:00:16.420" v="3431" actId="20577"/>
          <ac:spMkLst>
            <pc:docMk/>
            <pc:sldMk cId="3695527280" sldId="2147470386"/>
            <ac:spMk id="14" creationId="{0F0FB860-B8DE-A64E-E830-B62EFD3D763A}"/>
          </ac:spMkLst>
        </pc:spChg>
        <pc:spChg chg="add mod">
          <ac:chgData name="Bin, Zhan" userId="b17be1ef-b653-40b9-8ecc-835af7efcb11" providerId="ADAL" clId="{F0E793A0-DD64-4571-93D4-B7E1F4F99426}" dt="2024-01-02T07:00:20.526" v="3433" actId="20577"/>
          <ac:spMkLst>
            <pc:docMk/>
            <pc:sldMk cId="3695527280" sldId="2147470386"/>
            <ac:spMk id="15" creationId="{CBA043AD-AF8B-9A90-BBCA-B3A1C9BAD392}"/>
          </ac:spMkLst>
        </pc:spChg>
        <pc:spChg chg="add mod">
          <ac:chgData name="Bin, Zhan" userId="b17be1ef-b653-40b9-8ecc-835af7efcb11" providerId="ADAL" clId="{F0E793A0-DD64-4571-93D4-B7E1F4F99426}" dt="2024-01-02T06:59:59.728" v="3422"/>
          <ac:spMkLst>
            <pc:docMk/>
            <pc:sldMk cId="3695527280" sldId="2147470386"/>
            <ac:spMk id="16" creationId="{62C297DA-B046-3BDF-6A10-A3E598F3BAF0}"/>
          </ac:spMkLst>
        </pc:spChg>
        <pc:spChg chg="add del mod">
          <ac:chgData name="Bin, Zhan" userId="b17be1ef-b653-40b9-8ecc-835af7efcb11" providerId="ADAL" clId="{F0E793A0-DD64-4571-93D4-B7E1F4F99426}" dt="2023-12-26T05:46:49.507" v="538"/>
          <ac:spMkLst>
            <pc:docMk/>
            <pc:sldMk cId="3695527280" sldId="2147470386"/>
            <ac:spMk id="17" creationId="{8F79297C-86F3-8BA7-A28E-A0FDA3C619BE}"/>
          </ac:spMkLst>
        </pc:spChg>
        <pc:spChg chg="add mod ord">
          <ac:chgData name="Bin, Zhan" userId="b17be1ef-b653-40b9-8ecc-835af7efcb11" providerId="ADAL" clId="{F0E793A0-DD64-4571-93D4-B7E1F4F99426}" dt="2024-01-02T07:00:54.020" v="3462" actId="1076"/>
          <ac:spMkLst>
            <pc:docMk/>
            <pc:sldMk cId="3695527280" sldId="2147470386"/>
            <ac:spMk id="18" creationId="{36ABD79C-BB1A-81CE-2DDB-352375FC7900}"/>
          </ac:spMkLst>
        </pc:spChg>
        <pc:spChg chg="add mod">
          <ac:chgData name="Bin, Zhan" userId="b17be1ef-b653-40b9-8ecc-835af7efcb11" providerId="ADAL" clId="{F0E793A0-DD64-4571-93D4-B7E1F4F99426}" dt="2023-12-26T05:55:16.924" v="619" actId="1076"/>
          <ac:spMkLst>
            <pc:docMk/>
            <pc:sldMk cId="3695527280" sldId="2147470386"/>
            <ac:spMk id="19" creationId="{90991BBE-0A21-DD8B-BADE-DFD3EE9EF594}"/>
          </ac:spMkLst>
        </pc:spChg>
        <pc:spChg chg="add mod ord">
          <ac:chgData name="Bin, Zhan" userId="b17be1ef-b653-40b9-8ecc-835af7efcb11" providerId="ADAL" clId="{F0E793A0-DD64-4571-93D4-B7E1F4F99426}" dt="2023-12-26T06:01:45.272" v="689" actId="1076"/>
          <ac:spMkLst>
            <pc:docMk/>
            <pc:sldMk cId="3695527280" sldId="2147470386"/>
            <ac:spMk id="20" creationId="{E72AAB62-D183-3DCB-554C-690EB351F203}"/>
          </ac:spMkLst>
        </pc:spChg>
        <pc:spChg chg="add mod">
          <ac:chgData name="Bin, Zhan" userId="b17be1ef-b653-40b9-8ecc-835af7efcb11" providerId="ADAL" clId="{F0E793A0-DD64-4571-93D4-B7E1F4F99426}" dt="2024-01-02T06:58:43.468" v="3382" actId="20577"/>
          <ac:spMkLst>
            <pc:docMk/>
            <pc:sldMk cId="3695527280" sldId="2147470386"/>
            <ac:spMk id="21" creationId="{87C52153-D4DE-0F50-E3CB-5D5B72381DAE}"/>
          </ac:spMkLst>
        </pc:spChg>
        <pc:spChg chg="add del mod">
          <ac:chgData name="Bin, Zhan" userId="b17be1ef-b653-40b9-8ecc-835af7efcb11" providerId="ADAL" clId="{F0E793A0-DD64-4571-93D4-B7E1F4F99426}" dt="2023-12-26T05:59:24.771" v="671"/>
          <ac:spMkLst>
            <pc:docMk/>
            <pc:sldMk cId="3695527280" sldId="2147470386"/>
            <ac:spMk id="24" creationId="{3750730B-B313-89DD-FB03-EFF1BF5F0346}"/>
          </ac:spMkLst>
        </pc:spChg>
        <pc:spChg chg="add mod">
          <ac:chgData name="Bin, Zhan" userId="b17be1ef-b653-40b9-8ecc-835af7efcb11" providerId="ADAL" clId="{F0E793A0-DD64-4571-93D4-B7E1F4F99426}" dt="2023-12-26T06:02:03.149" v="694" actId="14100"/>
          <ac:spMkLst>
            <pc:docMk/>
            <pc:sldMk cId="3695527280" sldId="2147470386"/>
            <ac:spMk id="26" creationId="{C3905670-EDA1-504F-216A-5CEEC148F212}"/>
          </ac:spMkLst>
        </pc:spChg>
        <pc:spChg chg="add del">
          <ac:chgData name="Bin, Zhan" userId="b17be1ef-b653-40b9-8ecc-835af7efcb11" providerId="ADAL" clId="{F0E793A0-DD64-4571-93D4-B7E1F4F99426}" dt="2023-12-26T05:59:57.340" v="678" actId="478"/>
          <ac:spMkLst>
            <pc:docMk/>
            <pc:sldMk cId="3695527280" sldId="2147470386"/>
            <ac:spMk id="27" creationId="{AF31211C-1BD6-FBD2-F201-553412C7B846}"/>
          </ac:spMkLst>
        </pc:spChg>
        <pc:spChg chg="add mod">
          <ac:chgData name="Bin, Zhan" userId="b17be1ef-b653-40b9-8ecc-835af7efcb11" providerId="ADAL" clId="{F0E793A0-DD64-4571-93D4-B7E1F4F99426}" dt="2023-12-26T06:00:10.352" v="680" actId="14100"/>
          <ac:spMkLst>
            <pc:docMk/>
            <pc:sldMk cId="3695527280" sldId="2147470386"/>
            <ac:spMk id="28" creationId="{44CA98CE-B269-F4AB-8DD7-7347CB173C8B}"/>
          </ac:spMkLst>
        </pc:spChg>
        <pc:spChg chg="add mod">
          <ac:chgData name="Bin, Zhan" userId="b17be1ef-b653-40b9-8ecc-835af7efcb11" providerId="ADAL" clId="{F0E793A0-DD64-4571-93D4-B7E1F4F99426}" dt="2023-12-26T06:00:51.656" v="685" actId="3062"/>
          <ac:spMkLst>
            <pc:docMk/>
            <pc:sldMk cId="3695527280" sldId="2147470386"/>
            <ac:spMk id="29" creationId="{0D8DD94C-E676-14E7-A36F-C3C553195E6E}"/>
          </ac:spMkLst>
        </pc:spChg>
        <pc:cxnChg chg="add del mod">
          <ac:chgData name="Bin, Zhan" userId="b17be1ef-b653-40b9-8ecc-835af7efcb11" providerId="ADAL" clId="{F0E793A0-DD64-4571-93D4-B7E1F4F99426}" dt="2023-12-26T05:59:24.756" v="669" actId="478"/>
          <ac:cxnSpMkLst>
            <pc:docMk/>
            <pc:sldMk cId="3695527280" sldId="2147470386"/>
            <ac:cxnSpMk id="23" creationId="{6C9823F4-120E-821B-13F4-173E4E05BED1}"/>
          </ac:cxnSpMkLst>
        </pc:cxnChg>
      </pc:sldChg>
      <pc:sldChg chg="addSp delSp modSp new mod">
        <pc:chgData name="Bin, Zhan" userId="b17be1ef-b653-40b9-8ecc-835af7efcb11" providerId="ADAL" clId="{F0E793A0-DD64-4571-93D4-B7E1F4F99426}" dt="2023-12-26T05:35:49.304" v="351" actId="20577"/>
        <pc:sldMkLst>
          <pc:docMk/>
          <pc:sldMk cId="3686665601" sldId="2147470387"/>
        </pc:sldMkLst>
        <pc:spChg chg="add del mod">
          <ac:chgData name="Bin, Zhan" userId="b17be1ef-b653-40b9-8ecc-835af7efcb11" providerId="ADAL" clId="{F0E793A0-DD64-4571-93D4-B7E1F4F99426}" dt="2023-12-26T05:35:23.814" v="342"/>
          <ac:spMkLst>
            <pc:docMk/>
            <pc:sldMk cId="3686665601" sldId="2147470387"/>
            <ac:spMk id="2" creationId="{FED35EB8-9F30-9109-D28B-816A65127F08}"/>
          </ac:spMkLst>
        </pc:spChg>
        <pc:spChg chg="add del">
          <ac:chgData name="Bin, Zhan" userId="b17be1ef-b653-40b9-8ecc-835af7efcb11" providerId="ADAL" clId="{F0E793A0-DD64-4571-93D4-B7E1F4F99426}" dt="2023-12-26T05:35:31.169" v="343" actId="478"/>
          <ac:spMkLst>
            <pc:docMk/>
            <pc:sldMk cId="3686665601" sldId="2147470387"/>
            <ac:spMk id="3" creationId="{971E28FA-BFD6-A90C-C80A-2CA6DEEE637F}"/>
          </ac:spMkLst>
        </pc:spChg>
        <pc:spChg chg="add del">
          <ac:chgData name="Bin, Zhan" userId="b17be1ef-b653-40b9-8ecc-835af7efcb11" providerId="ADAL" clId="{F0E793A0-DD64-4571-93D4-B7E1F4F99426}" dt="2023-12-26T05:35:17.261" v="338" actId="22"/>
          <ac:spMkLst>
            <pc:docMk/>
            <pc:sldMk cId="3686665601" sldId="2147470387"/>
            <ac:spMk id="5" creationId="{A9AFAB97-9C50-A979-676C-4C158F7DB1E3}"/>
          </ac:spMkLst>
        </pc:spChg>
        <pc:spChg chg="add mod">
          <ac:chgData name="Bin, Zhan" userId="b17be1ef-b653-40b9-8ecc-835af7efcb11" providerId="ADAL" clId="{F0E793A0-DD64-4571-93D4-B7E1F4F99426}" dt="2023-12-26T05:35:49.304" v="351" actId="20577"/>
          <ac:spMkLst>
            <pc:docMk/>
            <pc:sldMk cId="3686665601" sldId="2147470387"/>
            <ac:spMk id="6" creationId="{8378EB02-C7E1-6F62-7C84-6A0827669782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5:23:45.753" v="3037" actId="207"/>
        <pc:sldMkLst>
          <pc:docMk/>
          <pc:sldMk cId="373872240" sldId="2147470388"/>
        </pc:sldMkLst>
        <pc:spChg chg="add mod">
          <ac:chgData name="Bin, Zhan" userId="b17be1ef-b653-40b9-8ecc-835af7efcb11" providerId="ADAL" clId="{F0E793A0-DD64-4571-93D4-B7E1F4F99426}" dt="2024-01-02T05:23:45.753" v="3037" actId="207"/>
          <ac:spMkLst>
            <pc:docMk/>
            <pc:sldMk cId="373872240" sldId="2147470388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6T07:38:12.055" v="709" actId="20577"/>
          <ac:spMkLst>
            <pc:docMk/>
            <pc:sldMk cId="373872240" sldId="2147470388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3-12-27T06:28:09.874" v="2008" actId="20577"/>
          <ac:spMkLst>
            <pc:docMk/>
            <pc:sldMk cId="373872240" sldId="2147470388"/>
            <ac:spMk id="5" creationId="{27FBD865-FE76-C988-48FA-712060A07C38}"/>
          </ac:spMkLst>
        </pc:spChg>
        <pc:spChg chg="del mod">
          <ac:chgData name="Bin, Zhan" userId="b17be1ef-b653-40b9-8ecc-835af7efcb11" providerId="ADAL" clId="{F0E793A0-DD64-4571-93D4-B7E1F4F99426}" dt="2023-12-26T08:07:46.761" v="1001" actId="478"/>
          <ac:spMkLst>
            <pc:docMk/>
            <pc:sldMk cId="373872240" sldId="2147470388"/>
            <ac:spMk id="6" creationId="{42415E41-0CBA-83BF-5A9F-952F30D035CD}"/>
          </ac:spMkLst>
        </pc:spChg>
        <pc:spChg chg="del mod">
          <ac:chgData name="Bin, Zhan" userId="b17be1ef-b653-40b9-8ecc-835af7efcb11" providerId="ADAL" clId="{F0E793A0-DD64-4571-93D4-B7E1F4F99426}" dt="2023-12-26T08:03:59.516" v="957"/>
          <ac:spMkLst>
            <pc:docMk/>
            <pc:sldMk cId="373872240" sldId="2147470388"/>
            <ac:spMk id="7" creationId="{B44BC2F8-7F1B-2282-6A5B-C6373DD5CC97}"/>
          </ac:spMkLst>
        </pc:spChg>
        <pc:spChg chg="mod">
          <ac:chgData name="Bin, Zhan" userId="b17be1ef-b653-40b9-8ecc-835af7efcb11" providerId="ADAL" clId="{F0E793A0-DD64-4571-93D4-B7E1F4F99426}" dt="2023-12-29T03:27:50.025" v="2303" actId="20577"/>
          <ac:spMkLst>
            <pc:docMk/>
            <pc:sldMk cId="373872240" sldId="2147470388"/>
            <ac:spMk id="8" creationId="{A9C1BCF6-8BFF-897B-0C19-BC275A0EFE3A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6:57:58.942" v="3368"/>
        <pc:sldMkLst>
          <pc:docMk/>
          <pc:sldMk cId="2113372396" sldId="2147470389"/>
        </pc:sldMkLst>
        <pc:spChg chg="add del mod">
          <ac:chgData name="Bin, Zhan" userId="b17be1ef-b653-40b9-8ecc-835af7efcb11" providerId="ADAL" clId="{F0E793A0-DD64-4571-93D4-B7E1F4F99426}" dt="2023-12-26T08:46:24.488" v="1224" actId="478"/>
          <ac:spMkLst>
            <pc:docMk/>
            <pc:sldMk cId="2113372396" sldId="2147470389"/>
            <ac:spMk id="2" creationId="{33DDAC7D-2462-3035-C956-B3AA61755F90}"/>
          </ac:spMkLst>
        </pc:spChg>
        <pc:spChg chg="add mod">
          <ac:chgData name="Bin, Zhan" userId="b17be1ef-b653-40b9-8ecc-835af7efcb11" providerId="ADAL" clId="{F0E793A0-DD64-4571-93D4-B7E1F4F99426}" dt="2023-12-26T08:50:18.475" v="1298" actId="1076"/>
          <ac:spMkLst>
            <pc:docMk/>
            <pc:sldMk cId="2113372396" sldId="2147470389"/>
            <ac:spMk id="3" creationId="{4E5A3560-59FF-0BB3-CF3A-6474FFD886B4}"/>
          </ac:spMkLst>
        </pc:spChg>
        <pc:spChg chg="mod">
          <ac:chgData name="Bin, Zhan" userId="b17be1ef-b653-40b9-8ecc-835af7efcb11" providerId="ADAL" clId="{F0E793A0-DD64-4571-93D4-B7E1F4F99426}" dt="2023-12-26T08:35:37.771" v="1217" actId="20577"/>
          <ac:spMkLst>
            <pc:docMk/>
            <pc:sldMk cId="2113372396" sldId="2147470389"/>
            <ac:spMk id="4" creationId="{C7A1983A-831A-4536-FEED-338832A93684}"/>
          </ac:spMkLst>
        </pc:spChg>
        <pc:spChg chg="add mod">
          <ac:chgData name="Bin, Zhan" userId="b17be1ef-b653-40b9-8ecc-835af7efcb11" providerId="ADAL" clId="{F0E793A0-DD64-4571-93D4-B7E1F4F99426}" dt="2024-01-02T06:57:48.015" v="3354"/>
          <ac:spMkLst>
            <pc:docMk/>
            <pc:sldMk cId="2113372396" sldId="2147470389"/>
            <ac:spMk id="5" creationId="{DEEF1676-FED9-B1B2-F390-3816F35D81EA}"/>
          </ac:spMkLst>
        </pc:spChg>
        <pc:spChg chg="add mod">
          <ac:chgData name="Bin, Zhan" userId="b17be1ef-b653-40b9-8ecc-835af7efcb11" providerId="ADAL" clId="{F0E793A0-DD64-4571-93D4-B7E1F4F99426}" dt="2023-12-26T08:49:55.653" v="1291" actId="1076"/>
          <ac:spMkLst>
            <pc:docMk/>
            <pc:sldMk cId="2113372396" sldId="2147470389"/>
            <ac:spMk id="6" creationId="{57FBCEC5-2804-BF53-A1B6-48560B4923C5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7" creationId="{314734DB-A6B9-8B81-7E17-E46F18FEDF0C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8" creationId="{96F36342-4CCC-FF14-B629-DDAA7AFDA718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9" creationId="{8808AC52-BA66-D483-423E-584BB9DFE836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0" creationId="{781EF889-82B6-A682-7292-1AEECC311495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1" creationId="{BA504EAF-9637-F8CD-6E95-507A5658CEA2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2" creationId="{9F8C6B45-3C90-C033-679F-FA4703E6BEF4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3" creationId="{094C246D-AB4A-4EEF-E5D3-9D786ED1F0C4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4" creationId="{0F0FB860-B8DE-A64E-E830-B62EFD3D763A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5" creationId="{CBA043AD-AF8B-9A90-BBCA-B3A1C9BAD392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6" creationId="{62C297DA-B046-3BDF-6A10-A3E598F3BAF0}"/>
          </ac:spMkLst>
        </pc:spChg>
        <pc:spChg chg="add mod">
          <ac:chgData name="Bin, Zhan" userId="b17be1ef-b653-40b9-8ecc-835af7efcb11" providerId="ADAL" clId="{F0E793A0-DD64-4571-93D4-B7E1F4F99426}" dt="2024-01-02T06:57:52.987" v="3361"/>
          <ac:spMkLst>
            <pc:docMk/>
            <pc:sldMk cId="2113372396" sldId="2147470389"/>
            <ac:spMk id="17" creationId="{84F3CA75-9984-B9D5-A691-40D446E7B9BE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8" creationId="{36ABD79C-BB1A-81CE-2DDB-352375FC7900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19" creationId="{90991BBE-0A21-DD8B-BADE-DFD3EE9EF594}"/>
          </ac:spMkLst>
        </pc:spChg>
        <pc:spChg chg="del">
          <ac:chgData name="Bin, Zhan" userId="b17be1ef-b653-40b9-8ecc-835af7efcb11" providerId="ADAL" clId="{F0E793A0-DD64-4571-93D4-B7E1F4F99426}" dt="2023-12-26T08:35:46.677" v="1219" actId="478"/>
          <ac:spMkLst>
            <pc:docMk/>
            <pc:sldMk cId="2113372396" sldId="2147470389"/>
            <ac:spMk id="20" creationId="{E72AAB62-D183-3DCB-554C-690EB351F203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1" creationId="{87C52153-D4DE-0F50-E3CB-5D5B72381DAE}"/>
          </ac:spMkLst>
        </pc:spChg>
        <pc:spChg chg="add mod">
          <ac:chgData name="Bin, Zhan" userId="b17be1ef-b653-40b9-8ecc-835af7efcb11" providerId="ADAL" clId="{F0E793A0-DD64-4571-93D4-B7E1F4F99426}" dt="2024-01-02T06:57:58.942" v="3368"/>
          <ac:spMkLst>
            <pc:docMk/>
            <pc:sldMk cId="2113372396" sldId="2147470389"/>
            <ac:spMk id="22" creationId="{F8709AE8-0445-6EB1-F2E1-1D19954919E3}"/>
          </ac:spMkLst>
        </pc:spChg>
        <pc:spChg chg="add del mod">
          <ac:chgData name="Bin, Zhan" userId="b17be1ef-b653-40b9-8ecc-835af7efcb11" providerId="ADAL" clId="{F0E793A0-DD64-4571-93D4-B7E1F4F99426}" dt="2023-12-26T08:49:00.474" v="1283" actId="478"/>
          <ac:spMkLst>
            <pc:docMk/>
            <pc:sldMk cId="2113372396" sldId="2147470389"/>
            <ac:spMk id="23" creationId="{0B5B9CE1-3523-44EC-EBC5-2A0787D4FFED}"/>
          </ac:spMkLst>
        </pc:spChg>
        <pc:spChg chg="add mod ord">
          <ac:chgData name="Bin, Zhan" userId="b17be1ef-b653-40b9-8ecc-835af7efcb11" providerId="ADAL" clId="{F0E793A0-DD64-4571-93D4-B7E1F4F99426}" dt="2023-12-27T03:12:17.183" v="1574" actId="207"/>
          <ac:spMkLst>
            <pc:docMk/>
            <pc:sldMk cId="2113372396" sldId="2147470389"/>
            <ac:spMk id="24" creationId="{5DB2A522-C4F1-4877-70D8-12DF1D63F695}"/>
          </ac:spMkLst>
        </pc:spChg>
        <pc:spChg chg="add mod">
          <ac:chgData name="Bin, Zhan" userId="b17be1ef-b653-40b9-8ecc-835af7efcb11" providerId="ADAL" clId="{F0E793A0-DD64-4571-93D4-B7E1F4F99426}" dt="2023-12-26T08:50:33.242" v="1301" actId="207"/>
          <ac:spMkLst>
            <pc:docMk/>
            <pc:sldMk cId="2113372396" sldId="2147470389"/>
            <ac:spMk id="25" creationId="{A57A52CB-048B-7F8A-65AC-FB0ACF05B6EA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6" creationId="{C3905670-EDA1-504F-216A-5CEEC148F212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8" creationId="{44CA98CE-B269-F4AB-8DD7-7347CB173C8B}"/>
          </ac:spMkLst>
        </pc:spChg>
        <pc:spChg chg="del">
          <ac:chgData name="Bin, Zhan" userId="b17be1ef-b653-40b9-8ecc-835af7efcb11" providerId="ADAL" clId="{F0E793A0-DD64-4571-93D4-B7E1F4F99426}" dt="2023-12-26T08:35:44.088" v="1218" actId="478"/>
          <ac:spMkLst>
            <pc:docMk/>
            <pc:sldMk cId="2113372396" sldId="2147470389"/>
            <ac:spMk id="29" creationId="{0D8DD94C-E676-14E7-A36F-C3C553195E6E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7:09:19.454" v="3606" actId="6549"/>
        <pc:sldMkLst>
          <pc:docMk/>
          <pc:sldMk cId="77539186" sldId="2147470390"/>
        </pc:sldMkLst>
        <pc:spChg chg="add mod">
          <ac:chgData name="Bin, Zhan" userId="b17be1ef-b653-40b9-8ecc-835af7efcb11" providerId="ADAL" clId="{F0E793A0-DD64-4571-93D4-B7E1F4F99426}" dt="2024-01-02T07:06:30.911" v="3542" actId="20577"/>
          <ac:spMkLst>
            <pc:docMk/>
            <pc:sldMk cId="77539186" sldId="2147470390"/>
            <ac:spMk id="2" creationId="{3A62ECA6-7A3A-5991-ADA9-3713E950E074}"/>
          </ac:spMkLst>
        </pc:spChg>
        <pc:spChg chg="add mod">
          <ac:chgData name="Bin, Zhan" userId="b17be1ef-b653-40b9-8ecc-835af7efcb11" providerId="ADAL" clId="{F0E793A0-DD64-4571-93D4-B7E1F4F99426}" dt="2024-01-02T07:08:57.390" v="3605" actId="20577"/>
          <ac:spMkLst>
            <pc:docMk/>
            <pc:sldMk cId="77539186" sldId="2147470390"/>
            <ac:spMk id="3" creationId="{09D06743-297D-1CE0-11A2-36F68555F28C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3" creationId="{4E5A3560-59FF-0BB3-CF3A-6474FFD886B4}"/>
          </ac:spMkLst>
        </pc:spChg>
        <pc:spChg chg="mod">
          <ac:chgData name="Bin, Zhan" userId="b17be1ef-b653-40b9-8ecc-835af7efcb11" providerId="ADAL" clId="{F0E793A0-DD64-4571-93D4-B7E1F4F99426}" dt="2023-12-26T08:55:30.998" v="1309" actId="20577"/>
          <ac:spMkLst>
            <pc:docMk/>
            <pc:sldMk cId="77539186" sldId="2147470390"/>
            <ac:spMk id="4" creationId="{C7A1983A-831A-4536-FEED-338832A93684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5" creationId="{DEEF1676-FED9-B1B2-F390-3816F35D81EA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6" creationId="{57FBCEC5-2804-BF53-A1B6-48560B4923C5}"/>
          </ac:spMkLst>
        </pc:spChg>
        <pc:spChg chg="add mod">
          <ac:chgData name="Bin, Zhan" userId="b17be1ef-b653-40b9-8ecc-835af7efcb11" providerId="ADAL" clId="{F0E793A0-DD64-4571-93D4-B7E1F4F99426}" dt="2024-01-02T07:09:19.454" v="3606" actId="6549"/>
          <ac:spMkLst>
            <pc:docMk/>
            <pc:sldMk cId="77539186" sldId="2147470390"/>
            <ac:spMk id="7" creationId="{22060125-FAD9-7C31-7615-322937BCBBDD}"/>
          </ac:spMkLst>
        </pc:spChg>
        <pc:spChg chg="add mod">
          <ac:chgData name="Bin, Zhan" userId="b17be1ef-b653-40b9-8ecc-835af7efcb11" providerId="ADAL" clId="{F0E793A0-DD64-4571-93D4-B7E1F4F99426}" dt="2024-01-02T07:08:33.613" v="3567" actId="1076"/>
          <ac:spMkLst>
            <pc:docMk/>
            <pc:sldMk cId="77539186" sldId="2147470390"/>
            <ac:spMk id="8" creationId="{87C48016-6F03-57DC-2F77-BF094ABBC16A}"/>
          </ac:spMkLst>
        </pc:spChg>
        <pc:spChg chg="add mod ord">
          <ac:chgData name="Bin, Zhan" userId="b17be1ef-b653-40b9-8ecc-835af7efcb11" providerId="ADAL" clId="{F0E793A0-DD64-4571-93D4-B7E1F4F99426}" dt="2024-01-02T07:08:21.888" v="3563" actId="1076"/>
          <ac:spMkLst>
            <pc:docMk/>
            <pc:sldMk cId="77539186" sldId="2147470390"/>
            <ac:spMk id="9" creationId="{507535C9-58D1-5BD0-B944-314AE9AB829B}"/>
          </ac:spMkLst>
        </pc:spChg>
        <pc:spChg chg="add mod">
          <ac:chgData name="Bin, Zhan" userId="b17be1ef-b653-40b9-8ecc-835af7efcb11" providerId="ADAL" clId="{F0E793A0-DD64-4571-93D4-B7E1F4F99426}" dt="2023-12-26T09:09:02.333" v="1368" actId="20577"/>
          <ac:spMkLst>
            <pc:docMk/>
            <pc:sldMk cId="77539186" sldId="2147470390"/>
            <ac:spMk id="10" creationId="{364A2998-7C2E-28BE-84CC-C038165ADF4C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17" creationId="{84F3CA75-9984-B9D5-A691-40D446E7B9BE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22" creationId="{F8709AE8-0445-6EB1-F2E1-1D19954919E3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24" creationId="{5DB2A522-C4F1-4877-70D8-12DF1D63F695}"/>
          </ac:spMkLst>
        </pc:spChg>
        <pc:spChg chg="del">
          <ac:chgData name="Bin, Zhan" userId="b17be1ef-b653-40b9-8ecc-835af7efcb11" providerId="ADAL" clId="{F0E793A0-DD64-4571-93D4-B7E1F4F99426}" dt="2023-12-26T09:06:34.300" v="1310" actId="478"/>
          <ac:spMkLst>
            <pc:docMk/>
            <pc:sldMk cId="77539186" sldId="2147470390"/>
            <ac:spMk id="25" creationId="{A57A52CB-048B-7F8A-65AC-FB0ACF05B6EA}"/>
          </ac:spMkLst>
        </pc:spChg>
      </pc:sldChg>
      <pc:sldChg chg="addSp modSp add mod">
        <pc:chgData name="Bin, Zhan" userId="b17be1ef-b653-40b9-8ecc-835af7efcb11" providerId="ADAL" clId="{F0E793A0-DD64-4571-93D4-B7E1F4F99426}" dt="2024-01-02T05:23:36.216" v="3036" actId="207"/>
        <pc:sldMkLst>
          <pc:docMk/>
          <pc:sldMk cId="3909126118" sldId="2147470391"/>
        </pc:sldMkLst>
        <pc:spChg chg="add mod">
          <ac:chgData name="Bin, Zhan" userId="b17be1ef-b653-40b9-8ecc-835af7efcb11" providerId="ADAL" clId="{F0E793A0-DD64-4571-93D4-B7E1F4F99426}" dt="2024-01-02T02:14:33.714" v="2563" actId="571"/>
          <ac:spMkLst>
            <pc:docMk/>
            <pc:sldMk cId="3909126118" sldId="2147470391"/>
            <ac:spMk id="2" creationId="{FCCC8E68-D65D-F964-A7A7-CAEC57A77DA1}"/>
          </ac:spMkLst>
        </pc:spChg>
        <pc:spChg chg="mod">
          <ac:chgData name="Bin, Zhan" userId="b17be1ef-b653-40b9-8ecc-835af7efcb11" providerId="ADAL" clId="{F0E793A0-DD64-4571-93D4-B7E1F4F99426}" dt="2024-01-02T05:23:36.216" v="3036" actId="207"/>
          <ac:spMkLst>
            <pc:docMk/>
            <pc:sldMk cId="3909126118" sldId="2147470391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6T09:12:15.378" v="1378" actId="20577"/>
          <ac:spMkLst>
            <pc:docMk/>
            <pc:sldMk cId="3909126118" sldId="2147470391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3-12-27T06:28:24.485" v="2014" actId="20577"/>
          <ac:spMkLst>
            <pc:docMk/>
            <pc:sldMk cId="3909126118" sldId="2147470391"/>
            <ac:spMk id="5" creationId="{27FBD865-FE76-C988-48FA-712060A07C38}"/>
          </ac:spMkLst>
        </pc:spChg>
        <pc:spChg chg="mod">
          <ac:chgData name="Bin, Zhan" userId="b17be1ef-b653-40b9-8ecc-835af7efcb11" providerId="ADAL" clId="{F0E793A0-DD64-4571-93D4-B7E1F4F99426}" dt="2023-12-26T09:16:33.893" v="1398" actId="20577"/>
          <ac:spMkLst>
            <pc:docMk/>
            <pc:sldMk cId="3909126118" sldId="2147470391"/>
            <ac:spMk id="8" creationId="{A9C1BCF6-8BFF-897B-0C19-BC275A0EFE3A}"/>
          </ac:spMkLst>
        </pc:spChg>
      </pc:sldChg>
      <pc:sldChg chg="addSp delSp modSp new mod">
        <pc:chgData name="Bin, Zhan" userId="b17be1ef-b653-40b9-8ecc-835af7efcb11" providerId="ADAL" clId="{F0E793A0-DD64-4571-93D4-B7E1F4F99426}" dt="2024-01-02T07:11:25.047" v="3624" actId="20577"/>
        <pc:sldMkLst>
          <pc:docMk/>
          <pc:sldMk cId="2501652259" sldId="2147470392"/>
        </pc:sldMkLst>
        <pc:spChg chg="del mod">
          <ac:chgData name="Bin, Zhan" userId="b17be1ef-b653-40b9-8ecc-835af7efcb11" providerId="ADAL" clId="{F0E793A0-DD64-4571-93D4-B7E1F4F99426}" dt="2023-12-27T01:52:52.933" v="1414" actId="478"/>
          <ac:spMkLst>
            <pc:docMk/>
            <pc:sldMk cId="2501652259" sldId="2147470392"/>
            <ac:spMk id="2" creationId="{970C12A0-945F-0961-8335-1DBC7E0C71B9}"/>
          </ac:spMkLst>
        </pc:spChg>
        <pc:spChg chg="del">
          <ac:chgData name="Bin, Zhan" userId="b17be1ef-b653-40b9-8ecc-835af7efcb11" providerId="ADAL" clId="{F0E793A0-DD64-4571-93D4-B7E1F4F99426}" dt="2023-12-27T01:52:43.395" v="1412" actId="478"/>
          <ac:spMkLst>
            <pc:docMk/>
            <pc:sldMk cId="2501652259" sldId="2147470392"/>
            <ac:spMk id="3" creationId="{18A36AF8-B320-5580-A31F-C0F2836EF2BE}"/>
          </ac:spMkLst>
        </pc:spChg>
        <pc:spChg chg="add mod">
          <ac:chgData name="Bin, Zhan" userId="b17be1ef-b653-40b9-8ecc-835af7efcb11" providerId="ADAL" clId="{F0E793A0-DD64-4571-93D4-B7E1F4F99426}" dt="2023-12-27T01:53:04.733" v="1428" actId="20577"/>
          <ac:spMkLst>
            <pc:docMk/>
            <pc:sldMk cId="2501652259" sldId="2147470392"/>
            <ac:spMk id="4" creationId="{A33ACCED-7BB7-5737-94F3-3A06955BBBC9}"/>
          </ac:spMkLst>
        </pc:spChg>
        <pc:spChg chg="add mod">
          <ac:chgData name="Bin, Zhan" userId="b17be1ef-b653-40b9-8ecc-835af7efcb11" providerId="ADAL" clId="{F0E793A0-DD64-4571-93D4-B7E1F4F99426}" dt="2024-01-02T07:11:25.047" v="3624" actId="20577"/>
          <ac:spMkLst>
            <pc:docMk/>
            <pc:sldMk cId="2501652259" sldId="2147470392"/>
            <ac:spMk id="5" creationId="{4C24662F-52FD-B290-0455-26FF0FF8AE5E}"/>
          </ac:spMkLst>
        </pc:spChg>
        <pc:spChg chg="add mod">
          <ac:chgData name="Bin, Zhan" userId="b17be1ef-b653-40b9-8ecc-835af7efcb11" providerId="ADAL" clId="{F0E793A0-DD64-4571-93D4-B7E1F4F99426}" dt="2023-12-27T02:20:04.298" v="1462"/>
          <ac:spMkLst>
            <pc:docMk/>
            <pc:sldMk cId="2501652259" sldId="2147470392"/>
            <ac:spMk id="6" creationId="{9CBF5276-0230-4C3D-EF95-7F55E66E7288}"/>
          </ac:spMkLst>
        </pc:spChg>
        <pc:spChg chg="add mod">
          <ac:chgData name="Bin, Zhan" userId="b17be1ef-b653-40b9-8ecc-835af7efcb11" providerId="ADAL" clId="{F0E793A0-DD64-4571-93D4-B7E1F4F99426}" dt="2024-01-02T07:11:05.676" v="3612" actId="20577"/>
          <ac:spMkLst>
            <pc:docMk/>
            <pc:sldMk cId="2501652259" sldId="2147470392"/>
            <ac:spMk id="7" creationId="{E910D041-F74F-03F9-0A9E-F439F7A10A99}"/>
          </ac:spMkLst>
        </pc:spChg>
        <pc:spChg chg="add mod">
          <ac:chgData name="Bin, Zhan" userId="b17be1ef-b653-40b9-8ecc-835af7efcb11" providerId="ADAL" clId="{F0E793A0-DD64-4571-93D4-B7E1F4F99426}" dt="2024-01-02T07:11:11.438" v="3615" actId="20577"/>
          <ac:spMkLst>
            <pc:docMk/>
            <pc:sldMk cId="2501652259" sldId="2147470392"/>
            <ac:spMk id="8" creationId="{890350D1-B8E4-B77D-4494-2F2A73A80A2C}"/>
          </ac:spMkLst>
        </pc:spChg>
        <pc:spChg chg="add mod">
          <ac:chgData name="Bin, Zhan" userId="b17be1ef-b653-40b9-8ecc-835af7efcb11" providerId="ADAL" clId="{F0E793A0-DD64-4571-93D4-B7E1F4F99426}" dt="2023-12-27T02:24:24.743" v="1483" actId="1076"/>
          <ac:spMkLst>
            <pc:docMk/>
            <pc:sldMk cId="2501652259" sldId="2147470392"/>
            <ac:spMk id="9" creationId="{F46495E9-9A8A-7B46-76C1-94A2D845C3B5}"/>
          </ac:spMkLst>
        </pc:spChg>
        <pc:spChg chg="add mod ord">
          <ac:chgData name="Bin, Zhan" userId="b17be1ef-b653-40b9-8ecc-835af7efcb11" providerId="ADAL" clId="{F0E793A0-DD64-4571-93D4-B7E1F4F99426}" dt="2024-01-02T07:09:38.378" v="3607" actId="1076"/>
          <ac:spMkLst>
            <pc:docMk/>
            <pc:sldMk cId="2501652259" sldId="2147470392"/>
            <ac:spMk id="10" creationId="{B04AE8FB-2E35-7EC4-9892-7EE4ED9AEED4}"/>
          </ac:spMkLst>
        </pc:spChg>
        <pc:spChg chg="add mod">
          <ac:chgData name="Bin, Zhan" userId="b17be1ef-b653-40b9-8ecc-835af7efcb11" providerId="ADAL" clId="{F0E793A0-DD64-4571-93D4-B7E1F4F99426}" dt="2023-12-27T02:25:23.231" v="1520" actId="20577"/>
          <ac:spMkLst>
            <pc:docMk/>
            <pc:sldMk cId="2501652259" sldId="2147470392"/>
            <ac:spMk id="11" creationId="{DE335AA0-BFD2-9982-FC95-47A66FD3C75E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5:23:22.404" v="3035" actId="207"/>
        <pc:sldMkLst>
          <pc:docMk/>
          <pc:sldMk cId="40850015" sldId="2147470393"/>
        </pc:sldMkLst>
        <pc:spChg chg="add mod">
          <ac:chgData name="Bin, Zhan" userId="b17be1ef-b653-40b9-8ecc-835af7efcb11" providerId="ADAL" clId="{F0E793A0-DD64-4571-93D4-B7E1F4F99426}" dt="2023-12-27T06:28:38.908" v="2022" actId="20577"/>
          <ac:spMkLst>
            <pc:docMk/>
            <pc:sldMk cId="40850015" sldId="2147470393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23:22.404" v="3035" actId="207"/>
          <ac:spMkLst>
            <pc:docMk/>
            <pc:sldMk cId="40850015" sldId="2147470393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2:25:47.631" v="1528" actId="20577"/>
          <ac:spMkLst>
            <pc:docMk/>
            <pc:sldMk cId="40850015" sldId="2147470393"/>
            <ac:spMk id="4" creationId="{3CDD9887-8ED3-3FF4-98C5-897EF7155228}"/>
          </ac:spMkLst>
        </pc:spChg>
        <pc:spChg chg="del mod">
          <ac:chgData name="Bin, Zhan" userId="b17be1ef-b653-40b9-8ecc-835af7efcb11" providerId="ADAL" clId="{F0E793A0-DD64-4571-93D4-B7E1F4F99426}" dt="2023-12-27T02:27:48.061" v="1532" actId="478"/>
          <ac:spMkLst>
            <pc:docMk/>
            <pc:sldMk cId="40850015" sldId="2147470393"/>
            <ac:spMk id="5" creationId="{27FBD865-FE76-C988-48FA-712060A07C38}"/>
          </ac:spMkLst>
        </pc:spChg>
        <pc:spChg chg="add del">
          <ac:chgData name="Bin, Zhan" userId="b17be1ef-b653-40b9-8ecc-835af7efcb11" providerId="ADAL" clId="{F0E793A0-DD64-4571-93D4-B7E1F4F99426}" dt="2023-12-27T03:11:35.698" v="1555" actId="22"/>
          <ac:spMkLst>
            <pc:docMk/>
            <pc:sldMk cId="40850015" sldId="2147470393"/>
            <ac:spMk id="7" creationId="{E3D20567-4E6C-7521-E727-2E4C50F41EE9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7:20:33.912" v="3667" actId="20577"/>
        <pc:sldMkLst>
          <pc:docMk/>
          <pc:sldMk cId="1928180424" sldId="2147470394"/>
        </pc:sldMkLst>
        <pc:spChg chg="mod">
          <ac:chgData name="Bin, Zhan" userId="b17be1ef-b653-40b9-8ecc-835af7efcb11" providerId="ADAL" clId="{F0E793A0-DD64-4571-93D4-B7E1F4F99426}" dt="2023-12-27T03:12:32.341" v="1583" actId="20577"/>
          <ac:spMkLst>
            <pc:docMk/>
            <pc:sldMk cId="1928180424" sldId="2147470394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4-01-02T07:20:33.912" v="3667" actId="20577"/>
          <ac:spMkLst>
            <pc:docMk/>
            <pc:sldMk cId="1928180424" sldId="2147470394"/>
            <ac:spMk id="5" creationId="{4C24662F-52FD-B290-0455-26FF0FF8AE5E}"/>
          </ac:spMkLst>
        </pc:spChg>
        <pc:spChg chg="mod">
          <ac:chgData name="Bin, Zhan" userId="b17be1ef-b653-40b9-8ecc-835af7efcb11" providerId="ADAL" clId="{F0E793A0-DD64-4571-93D4-B7E1F4F99426}" dt="2024-01-02T07:20:06.238" v="3629" actId="20577"/>
          <ac:spMkLst>
            <pc:docMk/>
            <pc:sldMk cId="1928180424" sldId="2147470394"/>
            <ac:spMk id="7" creationId="{E910D041-F74F-03F9-0A9E-F439F7A10A99}"/>
          </ac:spMkLst>
        </pc:spChg>
        <pc:spChg chg="del">
          <ac:chgData name="Bin, Zhan" userId="b17be1ef-b653-40b9-8ecc-835af7efcb11" providerId="ADAL" clId="{F0E793A0-DD64-4571-93D4-B7E1F4F99426}" dt="2023-12-27T03:22:35.167" v="1592" actId="478"/>
          <ac:spMkLst>
            <pc:docMk/>
            <pc:sldMk cId="1928180424" sldId="2147470394"/>
            <ac:spMk id="8" creationId="{890350D1-B8E4-B77D-4494-2F2A73A80A2C}"/>
          </ac:spMkLst>
        </pc:spChg>
        <pc:spChg chg="del">
          <ac:chgData name="Bin, Zhan" userId="b17be1ef-b653-40b9-8ecc-835af7efcb11" providerId="ADAL" clId="{F0E793A0-DD64-4571-93D4-B7E1F4F99426}" dt="2023-12-27T03:22:38.765" v="1593" actId="478"/>
          <ac:spMkLst>
            <pc:docMk/>
            <pc:sldMk cId="1928180424" sldId="2147470394"/>
            <ac:spMk id="10" creationId="{B04AE8FB-2E35-7EC4-9892-7EE4ED9AEED4}"/>
          </ac:spMkLst>
        </pc:spChg>
        <pc:spChg chg="mod">
          <ac:chgData name="Bin, Zhan" userId="b17be1ef-b653-40b9-8ecc-835af7efcb11" providerId="ADAL" clId="{F0E793A0-DD64-4571-93D4-B7E1F4F99426}" dt="2023-12-27T03:23:19.843" v="1631" actId="1076"/>
          <ac:spMkLst>
            <pc:docMk/>
            <pc:sldMk cId="1928180424" sldId="2147470394"/>
            <ac:spMk id="11" creationId="{DE335AA0-BFD2-9982-FC95-47A66FD3C75E}"/>
          </ac:spMkLst>
        </pc:spChg>
        <pc:cxnChg chg="add">
          <ac:chgData name="Bin, Zhan" userId="b17be1ef-b653-40b9-8ecc-835af7efcb11" providerId="ADAL" clId="{F0E793A0-DD64-4571-93D4-B7E1F4F99426}" dt="2023-12-27T03:23:38.794" v="1632" actId="11529"/>
          <ac:cxnSpMkLst>
            <pc:docMk/>
            <pc:sldMk cId="1928180424" sldId="2147470394"/>
            <ac:cxnSpMk id="3" creationId="{D1F4D84F-4949-BAD9-6278-BC84A1EA1516}"/>
          </ac:cxnSpMkLst>
        </pc:cxnChg>
        <pc:cxnChg chg="add">
          <ac:chgData name="Bin, Zhan" userId="b17be1ef-b653-40b9-8ecc-835af7efcb11" providerId="ADAL" clId="{F0E793A0-DD64-4571-93D4-B7E1F4F99426}" dt="2023-12-27T03:23:49.524" v="1633" actId="11529"/>
          <ac:cxnSpMkLst>
            <pc:docMk/>
            <pc:sldMk cId="1928180424" sldId="2147470394"/>
            <ac:cxnSpMk id="13" creationId="{9B9C4034-A264-BB58-1D53-50927E8E1CB6}"/>
          </ac:cxnSpMkLst>
        </pc:cxnChg>
      </pc:sldChg>
      <pc:sldChg chg="modSp add mod">
        <pc:chgData name="Bin, Zhan" userId="b17be1ef-b653-40b9-8ecc-835af7efcb11" providerId="ADAL" clId="{F0E793A0-DD64-4571-93D4-B7E1F4F99426}" dt="2024-01-02T02:30:58.069" v="2693" actId="108"/>
        <pc:sldMkLst>
          <pc:docMk/>
          <pc:sldMk cId="1906002577" sldId="2147470395"/>
        </pc:sldMkLst>
        <pc:spChg chg="mod">
          <ac:chgData name="Bin, Zhan" userId="b17be1ef-b653-40b9-8ecc-835af7efcb11" providerId="ADAL" clId="{F0E793A0-DD64-4571-93D4-B7E1F4F99426}" dt="2023-12-27T06:28:46.665" v="2026" actId="20577"/>
          <ac:spMkLst>
            <pc:docMk/>
            <pc:sldMk cId="1906002577" sldId="2147470395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2:30:58.069" v="2693" actId="108"/>
          <ac:spMkLst>
            <pc:docMk/>
            <pc:sldMk cId="1906002577" sldId="2147470395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3:24:09.310" v="1642" actId="20577"/>
          <ac:spMkLst>
            <pc:docMk/>
            <pc:sldMk cId="1906002577" sldId="2147470395"/>
            <ac:spMk id="4" creationId="{3CDD9887-8ED3-3FF4-98C5-897EF7155228}"/>
          </ac:spMkLst>
        </pc:spChg>
      </pc:sldChg>
      <pc:sldChg chg="delSp modSp add mod">
        <pc:chgData name="Bin, Zhan" userId="b17be1ef-b653-40b9-8ecc-835af7efcb11" providerId="ADAL" clId="{F0E793A0-DD64-4571-93D4-B7E1F4F99426}" dt="2024-01-02T07:20:56.902" v="3679" actId="20577"/>
        <pc:sldMkLst>
          <pc:docMk/>
          <pc:sldMk cId="883109848" sldId="2147470396"/>
        </pc:sldMkLst>
        <pc:spChg chg="mod">
          <ac:chgData name="Bin, Zhan" userId="b17be1ef-b653-40b9-8ecc-835af7efcb11" providerId="ADAL" clId="{F0E793A0-DD64-4571-93D4-B7E1F4F99426}" dt="2023-12-27T05:33:57.101" v="1674" actId="20577"/>
          <ac:spMkLst>
            <pc:docMk/>
            <pc:sldMk cId="883109848" sldId="2147470396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4-01-02T07:20:56.902" v="3679" actId="20577"/>
          <ac:spMkLst>
            <pc:docMk/>
            <pc:sldMk cId="883109848" sldId="2147470396"/>
            <ac:spMk id="5" creationId="{4C24662F-52FD-B290-0455-26FF0FF8AE5E}"/>
          </ac:spMkLst>
        </pc:spChg>
        <pc:spChg chg="del">
          <ac:chgData name="Bin, Zhan" userId="b17be1ef-b653-40b9-8ecc-835af7efcb11" providerId="ADAL" clId="{F0E793A0-DD64-4571-93D4-B7E1F4F99426}" dt="2023-12-27T05:40:24.550" v="1828" actId="478"/>
          <ac:spMkLst>
            <pc:docMk/>
            <pc:sldMk cId="883109848" sldId="2147470396"/>
            <ac:spMk id="6" creationId="{9CBF5276-0230-4C3D-EF95-7F55E66E7288}"/>
          </ac:spMkLst>
        </pc:spChg>
        <pc:spChg chg="mod">
          <ac:chgData name="Bin, Zhan" userId="b17be1ef-b653-40b9-8ecc-835af7efcb11" providerId="ADAL" clId="{F0E793A0-DD64-4571-93D4-B7E1F4F99426}" dt="2024-01-02T07:20:53.115" v="3677" actId="20577"/>
          <ac:spMkLst>
            <pc:docMk/>
            <pc:sldMk cId="883109848" sldId="2147470396"/>
            <ac:spMk id="7" creationId="{E910D041-F74F-03F9-0A9E-F439F7A10A99}"/>
          </ac:spMkLst>
        </pc:spChg>
        <pc:spChg chg="del">
          <ac:chgData name="Bin, Zhan" userId="b17be1ef-b653-40b9-8ecc-835af7efcb11" providerId="ADAL" clId="{F0E793A0-DD64-4571-93D4-B7E1F4F99426}" dt="2023-12-27T05:40:34.840" v="1829" actId="478"/>
          <ac:spMkLst>
            <pc:docMk/>
            <pc:sldMk cId="883109848" sldId="2147470396"/>
            <ac:spMk id="9" creationId="{F46495E9-9A8A-7B46-76C1-94A2D845C3B5}"/>
          </ac:spMkLst>
        </pc:spChg>
        <pc:spChg chg="mod">
          <ac:chgData name="Bin, Zhan" userId="b17be1ef-b653-40b9-8ecc-835af7efcb11" providerId="ADAL" clId="{F0E793A0-DD64-4571-93D4-B7E1F4F99426}" dt="2023-12-27T05:35:47.732" v="1728" actId="20577"/>
          <ac:spMkLst>
            <pc:docMk/>
            <pc:sldMk cId="883109848" sldId="2147470396"/>
            <ac:spMk id="11" creationId="{DE335AA0-BFD2-9982-FC95-47A66FD3C75E}"/>
          </ac:spMkLst>
        </pc:spChg>
      </pc:sldChg>
      <pc:sldChg chg="modSp add mod">
        <pc:chgData name="Bin, Zhan" userId="b17be1ef-b653-40b9-8ecc-835af7efcb11" providerId="ADAL" clId="{F0E793A0-DD64-4571-93D4-B7E1F4F99426}" dt="2024-01-02T05:38:29.614" v="3259"/>
        <pc:sldMkLst>
          <pc:docMk/>
          <pc:sldMk cId="134693421" sldId="2147470397"/>
        </pc:sldMkLst>
        <pc:spChg chg="mod">
          <ac:chgData name="Bin, Zhan" userId="b17be1ef-b653-40b9-8ecc-835af7efcb11" providerId="ADAL" clId="{F0E793A0-DD64-4571-93D4-B7E1F4F99426}" dt="2023-12-27T06:30:07.164" v="2030" actId="20577"/>
          <ac:spMkLst>
            <pc:docMk/>
            <pc:sldMk cId="134693421" sldId="2147470397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38:29.614" v="3259"/>
          <ac:spMkLst>
            <pc:docMk/>
            <pc:sldMk cId="134693421" sldId="2147470397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5:36:02.592" v="1738" actId="20577"/>
          <ac:spMkLst>
            <pc:docMk/>
            <pc:sldMk cId="134693421" sldId="2147470397"/>
            <ac:spMk id="4" creationId="{3CDD9887-8ED3-3FF4-98C5-897EF7155228}"/>
          </ac:spMkLst>
        </pc:spChg>
      </pc:sldChg>
      <pc:sldChg chg="addSp delSp modSp add mod">
        <pc:chgData name="Bin, Zhan" userId="b17be1ef-b653-40b9-8ecc-835af7efcb11" providerId="ADAL" clId="{F0E793A0-DD64-4571-93D4-B7E1F4F99426}" dt="2023-12-27T05:41:37.154" v="1855" actId="11529"/>
        <pc:sldMkLst>
          <pc:docMk/>
          <pc:sldMk cId="2726926168" sldId="2147470398"/>
        </pc:sldMkLst>
        <pc:spChg chg="add mod">
          <ac:chgData name="Bin, Zhan" userId="b17be1ef-b653-40b9-8ecc-835af7efcb11" providerId="ADAL" clId="{F0E793A0-DD64-4571-93D4-B7E1F4F99426}" dt="2023-12-27T05:41:24.086" v="1844" actId="1076"/>
          <ac:spMkLst>
            <pc:docMk/>
            <pc:sldMk cId="2726926168" sldId="2147470398"/>
            <ac:spMk id="2" creationId="{586F424E-BA4F-FB74-7FC0-35EDD0961FDA}"/>
          </ac:spMkLst>
        </pc:spChg>
        <pc:spChg chg="mod">
          <ac:chgData name="Bin, Zhan" userId="b17be1ef-b653-40b9-8ecc-835af7efcb11" providerId="ADAL" clId="{F0E793A0-DD64-4571-93D4-B7E1F4F99426}" dt="2023-12-27T05:39:15.531" v="1827"/>
          <ac:spMkLst>
            <pc:docMk/>
            <pc:sldMk cId="2726926168" sldId="2147470398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3-12-27T05:41:27.581" v="1854" actId="20577"/>
          <ac:spMkLst>
            <pc:docMk/>
            <pc:sldMk cId="2726926168" sldId="2147470398"/>
            <ac:spMk id="5" creationId="{4C24662F-52FD-B290-0455-26FF0FF8AE5E}"/>
          </ac:spMkLst>
        </pc:spChg>
        <pc:spChg chg="del">
          <ac:chgData name="Bin, Zhan" userId="b17be1ef-b653-40b9-8ecc-835af7efcb11" providerId="ADAL" clId="{F0E793A0-DD64-4571-93D4-B7E1F4F99426}" dt="2023-12-27T05:40:46.898" v="1830" actId="478"/>
          <ac:spMkLst>
            <pc:docMk/>
            <pc:sldMk cId="2726926168" sldId="2147470398"/>
            <ac:spMk id="6" creationId="{9CBF5276-0230-4C3D-EF95-7F55E66E7288}"/>
          </ac:spMkLst>
        </pc:spChg>
        <pc:spChg chg="mod">
          <ac:chgData name="Bin, Zhan" userId="b17be1ef-b653-40b9-8ecc-835af7efcb11" providerId="ADAL" clId="{F0E793A0-DD64-4571-93D4-B7E1F4F99426}" dt="2023-12-27T05:41:04.689" v="1842" actId="5793"/>
          <ac:spMkLst>
            <pc:docMk/>
            <pc:sldMk cId="2726926168" sldId="2147470398"/>
            <ac:spMk id="7" creationId="{E910D041-F74F-03F9-0A9E-F439F7A10A99}"/>
          </ac:spMkLst>
        </pc:spChg>
        <pc:spChg chg="del">
          <ac:chgData name="Bin, Zhan" userId="b17be1ef-b653-40b9-8ecc-835af7efcb11" providerId="ADAL" clId="{F0E793A0-DD64-4571-93D4-B7E1F4F99426}" dt="2023-12-27T05:40:49.650" v="1831" actId="478"/>
          <ac:spMkLst>
            <pc:docMk/>
            <pc:sldMk cId="2726926168" sldId="2147470398"/>
            <ac:spMk id="9" creationId="{F46495E9-9A8A-7B46-76C1-94A2D845C3B5}"/>
          </ac:spMkLst>
        </pc:spChg>
        <pc:cxnChg chg="add">
          <ac:chgData name="Bin, Zhan" userId="b17be1ef-b653-40b9-8ecc-835af7efcb11" providerId="ADAL" clId="{F0E793A0-DD64-4571-93D4-B7E1F4F99426}" dt="2023-12-27T05:41:37.154" v="1855" actId="11529"/>
          <ac:cxnSpMkLst>
            <pc:docMk/>
            <pc:sldMk cId="2726926168" sldId="2147470398"/>
            <ac:cxnSpMk id="10" creationId="{39C4C92A-2A17-2F1A-B58E-A26936F32A50}"/>
          </ac:cxnSpMkLst>
        </pc:cxnChg>
      </pc:sldChg>
      <pc:sldChg chg="addSp modSp add mod">
        <pc:chgData name="Bin, Zhan" userId="b17be1ef-b653-40b9-8ecc-835af7efcb11" providerId="ADAL" clId="{F0E793A0-DD64-4571-93D4-B7E1F4F99426}" dt="2024-01-02T05:38:21.626" v="3258" actId="6549"/>
        <pc:sldMkLst>
          <pc:docMk/>
          <pc:sldMk cId="1056981480" sldId="2147470399"/>
        </pc:sldMkLst>
        <pc:spChg chg="mod">
          <ac:chgData name="Bin, Zhan" userId="b17be1ef-b653-40b9-8ecc-835af7efcb11" providerId="ADAL" clId="{F0E793A0-DD64-4571-93D4-B7E1F4F99426}" dt="2023-12-27T06:23:00.412" v="1967" actId="20577"/>
          <ac:spMkLst>
            <pc:docMk/>
            <pc:sldMk cId="1056981480" sldId="2147470399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38:21.626" v="3258" actId="6549"/>
          <ac:spMkLst>
            <pc:docMk/>
            <pc:sldMk cId="1056981480" sldId="2147470399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5:42:02.945" v="1859"/>
          <ac:spMkLst>
            <pc:docMk/>
            <pc:sldMk cId="1056981480" sldId="2147470399"/>
            <ac:spMk id="4" creationId="{3CDD9887-8ED3-3FF4-98C5-897EF7155228}"/>
          </ac:spMkLst>
        </pc:spChg>
        <pc:spChg chg="add mod">
          <ac:chgData name="Bin, Zhan" userId="b17be1ef-b653-40b9-8ecc-835af7efcb11" providerId="ADAL" clId="{F0E793A0-DD64-4571-93D4-B7E1F4F99426}" dt="2023-12-27T05:42:01.673" v="1858" actId="571"/>
          <ac:spMkLst>
            <pc:docMk/>
            <pc:sldMk cId="1056981480" sldId="2147470399"/>
            <ac:spMk id="5" creationId="{C6DC0D09-3388-27EF-A292-E4763646CEDD}"/>
          </ac:spMkLst>
        </pc:spChg>
      </pc:sldChg>
      <pc:sldChg chg="addSp delSp modSp add mod">
        <pc:chgData name="Bin, Zhan" userId="b17be1ef-b653-40b9-8ecc-835af7efcb11" providerId="ADAL" clId="{F0E793A0-DD64-4571-93D4-B7E1F4F99426}" dt="2024-01-02T07:22:29.940" v="3742" actId="20577"/>
        <pc:sldMkLst>
          <pc:docMk/>
          <pc:sldMk cId="1391162974" sldId="2147470400"/>
        </pc:sldMkLst>
        <pc:spChg chg="mod">
          <ac:chgData name="Bin, Zhan" userId="b17be1ef-b653-40b9-8ecc-835af7efcb11" providerId="ADAL" clId="{F0E793A0-DD64-4571-93D4-B7E1F4F99426}" dt="2024-01-02T07:21:46.045" v="3712" actId="20577"/>
          <ac:spMkLst>
            <pc:docMk/>
            <pc:sldMk cId="1391162974" sldId="2147470400"/>
            <ac:spMk id="2" creationId="{586F424E-BA4F-FB74-7FC0-35EDD0961FDA}"/>
          </ac:spMkLst>
        </pc:spChg>
        <pc:spChg chg="mod">
          <ac:chgData name="Bin, Zhan" userId="b17be1ef-b653-40b9-8ecc-835af7efcb11" providerId="ADAL" clId="{F0E793A0-DD64-4571-93D4-B7E1F4F99426}" dt="2023-12-27T05:44:51.025" v="1889" actId="20577"/>
          <ac:spMkLst>
            <pc:docMk/>
            <pc:sldMk cId="1391162974" sldId="2147470400"/>
            <ac:spMk id="4" creationId="{A33ACCED-7BB7-5737-94F3-3A06955BBBC9}"/>
          </ac:spMkLst>
        </pc:spChg>
        <pc:spChg chg="mod">
          <ac:chgData name="Bin, Zhan" userId="b17be1ef-b653-40b9-8ecc-835af7efcb11" providerId="ADAL" clId="{F0E793A0-DD64-4571-93D4-B7E1F4F99426}" dt="2024-01-02T07:21:39.932" v="3708" actId="20577"/>
          <ac:spMkLst>
            <pc:docMk/>
            <pc:sldMk cId="1391162974" sldId="2147470400"/>
            <ac:spMk id="5" creationId="{4C24662F-52FD-B290-0455-26FF0FF8AE5E}"/>
          </ac:spMkLst>
        </pc:spChg>
        <pc:spChg chg="mod">
          <ac:chgData name="Bin, Zhan" userId="b17be1ef-b653-40b9-8ecc-835af7efcb11" providerId="ADAL" clId="{F0E793A0-DD64-4571-93D4-B7E1F4F99426}" dt="2024-01-02T07:21:35.002" v="3704" actId="20577"/>
          <ac:spMkLst>
            <pc:docMk/>
            <pc:sldMk cId="1391162974" sldId="2147470400"/>
            <ac:spMk id="7" creationId="{E910D041-F74F-03F9-0A9E-F439F7A10A99}"/>
          </ac:spMkLst>
        </pc:spChg>
        <pc:spChg chg="add mod">
          <ac:chgData name="Bin, Zhan" userId="b17be1ef-b653-40b9-8ecc-835af7efcb11" providerId="ADAL" clId="{F0E793A0-DD64-4571-93D4-B7E1F4F99426}" dt="2024-01-02T07:21:52.678" v="3718" actId="20577"/>
          <ac:spMkLst>
            <pc:docMk/>
            <pc:sldMk cId="1391162974" sldId="2147470400"/>
            <ac:spMk id="8" creationId="{18AE2AB9-1200-50F2-EDE7-BF69D94AB6C3}"/>
          </ac:spMkLst>
        </pc:spChg>
        <pc:spChg chg="add mod">
          <ac:chgData name="Bin, Zhan" userId="b17be1ef-b653-40b9-8ecc-835af7efcb11" providerId="ADAL" clId="{F0E793A0-DD64-4571-93D4-B7E1F4F99426}" dt="2024-01-02T07:22:16.671" v="3732" actId="20577"/>
          <ac:spMkLst>
            <pc:docMk/>
            <pc:sldMk cId="1391162974" sldId="2147470400"/>
            <ac:spMk id="9" creationId="{B13C6BE8-64A7-A836-B3F5-CB7BBD6FD620}"/>
          </ac:spMkLst>
        </pc:spChg>
        <pc:spChg chg="mod">
          <ac:chgData name="Bin, Zhan" userId="b17be1ef-b653-40b9-8ecc-835af7efcb11" providerId="ADAL" clId="{F0E793A0-DD64-4571-93D4-B7E1F4F99426}" dt="2023-12-27T07:55:12.591" v="2096" actId="20577"/>
          <ac:spMkLst>
            <pc:docMk/>
            <pc:sldMk cId="1391162974" sldId="2147470400"/>
            <ac:spMk id="11" creationId="{DE335AA0-BFD2-9982-FC95-47A66FD3C75E}"/>
          </ac:spMkLst>
        </pc:spChg>
        <pc:spChg chg="add mod">
          <ac:chgData name="Bin, Zhan" userId="b17be1ef-b653-40b9-8ecc-835af7efcb11" providerId="ADAL" clId="{F0E793A0-DD64-4571-93D4-B7E1F4F99426}" dt="2024-01-02T07:22:26.155" v="3737" actId="20577"/>
          <ac:spMkLst>
            <pc:docMk/>
            <pc:sldMk cId="1391162974" sldId="2147470400"/>
            <ac:spMk id="12" creationId="{C187FA5B-FC37-C662-67C3-FD21875E4B39}"/>
          </ac:spMkLst>
        </pc:spChg>
        <pc:spChg chg="add del mod">
          <ac:chgData name="Bin, Zhan" userId="b17be1ef-b653-40b9-8ecc-835af7efcb11" providerId="ADAL" clId="{F0E793A0-DD64-4571-93D4-B7E1F4F99426}" dt="2023-12-27T07:54:20.855" v="2066" actId="478"/>
          <ac:spMkLst>
            <pc:docMk/>
            <pc:sldMk cId="1391162974" sldId="2147470400"/>
            <ac:spMk id="15" creationId="{D131CABF-C25D-3B4E-A727-BB57C990E776}"/>
          </ac:spMkLst>
        </pc:spChg>
        <pc:spChg chg="add mod">
          <ac:chgData name="Bin, Zhan" userId="b17be1ef-b653-40b9-8ecc-835af7efcb11" providerId="ADAL" clId="{F0E793A0-DD64-4571-93D4-B7E1F4F99426}" dt="2024-01-02T07:22:29.940" v="3742" actId="20577"/>
          <ac:spMkLst>
            <pc:docMk/>
            <pc:sldMk cId="1391162974" sldId="2147470400"/>
            <ac:spMk id="16" creationId="{4E4725D9-201C-CA09-1317-F2B1D7DAA86A}"/>
          </ac:spMkLst>
        </pc:spChg>
        <pc:cxnChg chg="del mod">
          <ac:chgData name="Bin, Zhan" userId="b17be1ef-b653-40b9-8ecc-835af7efcb11" providerId="ADAL" clId="{F0E793A0-DD64-4571-93D4-B7E1F4F99426}" dt="2023-12-27T07:51:57.524" v="2039" actId="478"/>
          <ac:cxnSpMkLst>
            <pc:docMk/>
            <pc:sldMk cId="1391162974" sldId="2147470400"/>
            <ac:cxnSpMk id="3" creationId="{D1F4D84F-4949-BAD9-6278-BC84A1EA1516}"/>
          </ac:cxnSpMkLst>
        </pc:cxnChg>
        <pc:cxnChg chg="del mod">
          <ac:chgData name="Bin, Zhan" userId="b17be1ef-b653-40b9-8ecc-835af7efcb11" providerId="ADAL" clId="{F0E793A0-DD64-4571-93D4-B7E1F4F99426}" dt="2023-12-27T07:51:59.145" v="2040" actId="478"/>
          <ac:cxnSpMkLst>
            <pc:docMk/>
            <pc:sldMk cId="1391162974" sldId="2147470400"/>
            <ac:cxnSpMk id="10" creationId="{39C4C92A-2A17-2F1A-B58E-A26936F32A50}"/>
          </ac:cxnSpMkLst>
        </pc:cxnChg>
        <pc:cxnChg chg="del mod">
          <ac:chgData name="Bin, Zhan" userId="b17be1ef-b653-40b9-8ecc-835af7efcb11" providerId="ADAL" clId="{F0E793A0-DD64-4571-93D4-B7E1F4F99426}" dt="2023-12-27T07:52:00.650" v="2041" actId="478"/>
          <ac:cxnSpMkLst>
            <pc:docMk/>
            <pc:sldMk cId="1391162974" sldId="2147470400"/>
            <ac:cxnSpMk id="13" creationId="{9B9C4034-A264-BB58-1D53-50927E8E1CB6}"/>
          </ac:cxnSpMkLst>
        </pc:cxnChg>
        <pc:cxnChg chg="add">
          <ac:chgData name="Bin, Zhan" userId="b17be1ef-b653-40b9-8ecc-835af7efcb11" providerId="ADAL" clId="{F0E793A0-DD64-4571-93D4-B7E1F4F99426}" dt="2023-12-27T07:57:00.488" v="2097" actId="11529"/>
          <ac:cxnSpMkLst>
            <pc:docMk/>
            <pc:sldMk cId="1391162974" sldId="2147470400"/>
            <ac:cxnSpMk id="18" creationId="{F085A1B2-96BB-2BBA-9CB6-3E56B4706FCE}"/>
          </ac:cxnSpMkLst>
        </pc:cxnChg>
        <pc:cxnChg chg="add">
          <ac:chgData name="Bin, Zhan" userId="b17be1ef-b653-40b9-8ecc-835af7efcb11" providerId="ADAL" clId="{F0E793A0-DD64-4571-93D4-B7E1F4F99426}" dt="2023-12-27T07:57:08.364" v="2098" actId="11529"/>
          <ac:cxnSpMkLst>
            <pc:docMk/>
            <pc:sldMk cId="1391162974" sldId="2147470400"/>
            <ac:cxnSpMk id="20" creationId="{3F95F564-D071-29F3-F6D8-0B1993E7894A}"/>
          </ac:cxnSpMkLst>
        </pc:cxnChg>
        <pc:cxnChg chg="add">
          <ac:chgData name="Bin, Zhan" userId="b17be1ef-b653-40b9-8ecc-835af7efcb11" providerId="ADAL" clId="{F0E793A0-DD64-4571-93D4-B7E1F4F99426}" dt="2023-12-27T07:57:17.442" v="2099" actId="11529"/>
          <ac:cxnSpMkLst>
            <pc:docMk/>
            <pc:sldMk cId="1391162974" sldId="2147470400"/>
            <ac:cxnSpMk id="22" creationId="{C4BE5DA9-CF29-CA79-2F57-1A941418D6EC}"/>
          </ac:cxnSpMkLst>
        </pc:cxnChg>
        <pc:cxnChg chg="add del mod">
          <ac:chgData name="Bin, Zhan" userId="b17be1ef-b653-40b9-8ecc-835af7efcb11" providerId="ADAL" clId="{F0E793A0-DD64-4571-93D4-B7E1F4F99426}" dt="2023-12-27T07:57:23.544" v="2101" actId="11529"/>
          <ac:cxnSpMkLst>
            <pc:docMk/>
            <pc:sldMk cId="1391162974" sldId="2147470400"/>
            <ac:cxnSpMk id="24" creationId="{6E440DD2-6394-0EEF-60FB-4CF60637FF25}"/>
          </ac:cxnSpMkLst>
        </pc:cxnChg>
        <pc:cxnChg chg="add">
          <ac:chgData name="Bin, Zhan" userId="b17be1ef-b653-40b9-8ecc-835af7efcb11" providerId="ADAL" clId="{F0E793A0-DD64-4571-93D4-B7E1F4F99426}" dt="2023-12-27T07:57:27.746" v="2102" actId="11529"/>
          <ac:cxnSpMkLst>
            <pc:docMk/>
            <pc:sldMk cId="1391162974" sldId="2147470400"/>
            <ac:cxnSpMk id="26" creationId="{19C90DD2-1A76-1BBB-11E0-F2738A0CD924}"/>
          </ac:cxnSpMkLst>
        </pc:cxnChg>
        <pc:cxnChg chg="add">
          <ac:chgData name="Bin, Zhan" userId="b17be1ef-b653-40b9-8ecc-835af7efcb11" providerId="ADAL" clId="{F0E793A0-DD64-4571-93D4-B7E1F4F99426}" dt="2023-12-27T07:57:32.380" v="2103" actId="11529"/>
          <ac:cxnSpMkLst>
            <pc:docMk/>
            <pc:sldMk cId="1391162974" sldId="2147470400"/>
            <ac:cxnSpMk id="28" creationId="{DD62B964-8435-9DDE-E0F8-C5D588CC786D}"/>
          </ac:cxnSpMkLst>
        </pc:cxnChg>
        <pc:cxnChg chg="add">
          <ac:chgData name="Bin, Zhan" userId="b17be1ef-b653-40b9-8ecc-835af7efcb11" providerId="ADAL" clId="{F0E793A0-DD64-4571-93D4-B7E1F4F99426}" dt="2023-12-27T07:57:37.609" v="2104" actId="11529"/>
          <ac:cxnSpMkLst>
            <pc:docMk/>
            <pc:sldMk cId="1391162974" sldId="2147470400"/>
            <ac:cxnSpMk id="30" creationId="{CD0ECA42-2D5F-FDD5-001B-CC19FCB8D9BC}"/>
          </ac:cxnSpMkLst>
        </pc:cxnChg>
        <pc:cxnChg chg="add">
          <ac:chgData name="Bin, Zhan" userId="b17be1ef-b653-40b9-8ecc-835af7efcb11" providerId="ADAL" clId="{F0E793A0-DD64-4571-93D4-B7E1F4F99426}" dt="2023-12-27T07:57:45.119" v="2105" actId="11529"/>
          <ac:cxnSpMkLst>
            <pc:docMk/>
            <pc:sldMk cId="1391162974" sldId="2147470400"/>
            <ac:cxnSpMk id="32" creationId="{6A34F914-AD2B-377B-0245-CF1F63BE522D}"/>
          </ac:cxnSpMkLst>
        </pc:cxnChg>
      </pc:sldChg>
      <pc:sldChg chg="addSp delSp modSp add mod">
        <pc:chgData name="Bin, Zhan" userId="b17be1ef-b653-40b9-8ecc-835af7efcb11" providerId="ADAL" clId="{F0E793A0-DD64-4571-93D4-B7E1F4F99426}" dt="2024-01-02T07:21:12.596" v="3689" actId="20577"/>
        <pc:sldMkLst>
          <pc:docMk/>
          <pc:sldMk cId="2271344008" sldId="2147470401"/>
        </pc:sldMkLst>
        <pc:spChg chg="mod">
          <ac:chgData name="Bin, Zhan" userId="b17be1ef-b653-40b9-8ecc-835af7efcb11" providerId="ADAL" clId="{F0E793A0-DD64-4571-93D4-B7E1F4F99426}" dt="2024-01-02T07:21:12.596" v="3689" actId="20577"/>
          <ac:spMkLst>
            <pc:docMk/>
            <pc:sldMk cId="2271344008" sldId="2147470401"/>
            <ac:spMk id="2" creationId="{586F424E-BA4F-FB74-7FC0-35EDD0961FDA}"/>
          </ac:spMkLst>
        </pc:spChg>
        <pc:spChg chg="mod">
          <ac:chgData name="Bin, Zhan" userId="b17be1ef-b653-40b9-8ecc-835af7efcb11" providerId="ADAL" clId="{F0E793A0-DD64-4571-93D4-B7E1F4F99426}" dt="2023-12-27T06:16:27.598" v="1935" actId="20577"/>
          <ac:spMkLst>
            <pc:docMk/>
            <pc:sldMk cId="2271344008" sldId="2147470401"/>
            <ac:spMk id="4" creationId="{A33ACCED-7BB7-5737-94F3-3A06955BBBC9}"/>
          </ac:spMkLst>
        </pc:spChg>
        <pc:spChg chg="del">
          <ac:chgData name="Bin, Zhan" userId="b17be1ef-b653-40b9-8ecc-835af7efcb11" providerId="ADAL" clId="{F0E793A0-DD64-4571-93D4-B7E1F4F99426}" dt="2023-12-27T06:15:49.221" v="1922" actId="478"/>
          <ac:spMkLst>
            <pc:docMk/>
            <pc:sldMk cId="2271344008" sldId="2147470401"/>
            <ac:spMk id="5" creationId="{4C24662F-52FD-B290-0455-26FF0FF8AE5E}"/>
          </ac:spMkLst>
        </pc:spChg>
        <pc:spChg chg="del mod">
          <ac:chgData name="Bin, Zhan" userId="b17be1ef-b653-40b9-8ecc-835af7efcb11" providerId="ADAL" clId="{F0E793A0-DD64-4571-93D4-B7E1F4F99426}" dt="2023-12-27T06:15:52.303" v="1924" actId="478"/>
          <ac:spMkLst>
            <pc:docMk/>
            <pc:sldMk cId="2271344008" sldId="2147470401"/>
            <ac:spMk id="7" creationId="{E910D041-F74F-03F9-0A9E-F439F7A10A99}"/>
          </ac:spMkLst>
        </pc:spChg>
        <pc:spChg chg="mod">
          <ac:chgData name="Bin, Zhan" userId="b17be1ef-b653-40b9-8ecc-835af7efcb11" providerId="ADAL" clId="{F0E793A0-DD64-4571-93D4-B7E1F4F99426}" dt="2023-12-27T06:17:04.367" v="1954" actId="20577"/>
          <ac:spMkLst>
            <pc:docMk/>
            <pc:sldMk cId="2271344008" sldId="2147470401"/>
            <ac:spMk id="11" creationId="{DE335AA0-BFD2-9982-FC95-47A66FD3C75E}"/>
          </ac:spMkLst>
        </pc:spChg>
        <pc:cxnChg chg="del mod">
          <ac:chgData name="Bin, Zhan" userId="b17be1ef-b653-40b9-8ecc-835af7efcb11" providerId="ADAL" clId="{F0E793A0-DD64-4571-93D4-B7E1F4F99426}" dt="2023-12-27T06:15:53.322" v="1925" actId="478"/>
          <ac:cxnSpMkLst>
            <pc:docMk/>
            <pc:sldMk cId="2271344008" sldId="2147470401"/>
            <ac:cxnSpMk id="3" creationId="{D1F4D84F-4949-BAD9-6278-BC84A1EA1516}"/>
          </ac:cxnSpMkLst>
        </pc:cxnChg>
        <pc:cxnChg chg="add del mod">
          <ac:chgData name="Bin, Zhan" userId="b17be1ef-b653-40b9-8ecc-835af7efcb11" providerId="ADAL" clId="{F0E793A0-DD64-4571-93D4-B7E1F4F99426}" dt="2023-12-27T06:21:24.833" v="1959" actId="478"/>
          <ac:cxnSpMkLst>
            <pc:docMk/>
            <pc:sldMk cId="2271344008" sldId="2147470401"/>
            <ac:cxnSpMk id="8" creationId="{9C11D0CC-1018-019E-F4C6-2CD5EEEE043A}"/>
          </ac:cxnSpMkLst>
        </pc:cxnChg>
        <pc:cxnChg chg="del mod">
          <ac:chgData name="Bin, Zhan" userId="b17be1ef-b653-40b9-8ecc-835af7efcb11" providerId="ADAL" clId="{F0E793A0-DD64-4571-93D4-B7E1F4F99426}" dt="2023-12-27T06:15:54.559" v="1926" actId="478"/>
          <ac:cxnSpMkLst>
            <pc:docMk/>
            <pc:sldMk cId="2271344008" sldId="2147470401"/>
            <ac:cxnSpMk id="10" creationId="{39C4C92A-2A17-2F1A-B58E-A26936F32A50}"/>
          </ac:cxnSpMkLst>
        </pc:cxnChg>
        <pc:cxnChg chg="add del mod">
          <ac:chgData name="Bin, Zhan" userId="b17be1ef-b653-40b9-8ecc-835af7efcb11" providerId="ADAL" clId="{F0E793A0-DD64-4571-93D4-B7E1F4F99426}" dt="2023-12-27T06:17:26.504" v="1958" actId="478"/>
          <ac:cxnSpMkLst>
            <pc:docMk/>
            <pc:sldMk cId="2271344008" sldId="2147470401"/>
            <ac:cxnSpMk id="12" creationId="{431C0641-D3A1-F90D-3B26-4048227797D4}"/>
          </ac:cxnSpMkLst>
        </pc:cxnChg>
        <pc:cxnChg chg="del mod">
          <ac:chgData name="Bin, Zhan" userId="b17be1ef-b653-40b9-8ecc-835af7efcb11" providerId="ADAL" clId="{F0E793A0-DD64-4571-93D4-B7E1F4F99426}" dt="2023-12-27T06:15:55.247" v="1927" actId="478"/>
          <ac:cxnSpMkLst>
            <pc:docMk/>
            <pc:sldMk cId="2271344008" sldId="2147470401"/>
            <ac:cxnSpMk id="13" creationId="{9B9C4034-A264-BB58-1D53-50927E8E1CB6}"/>
          </ac:cxnSpMkLst>
        </pc:cxnChg>
        <pc:cxnChg chg="add mod">
          <ac:chgData name="Bin, Zhan" userId="b17be1ef-b653-40b9-8ecc-835af7efcb11" providerId="ADAL" clId="{F0E793A0-DD64-4571-93D4-B7E1F4F99426}" dt="2023-12-27T06:21:46.807" v="1961" actId="17032"/>
          <ac:cxnSpMkLst>
            <pc:docMk/>
            <pc:sldMk cId="2271344008" sldId="2147470401"/>
            <ac:cxnSpMk id="15" creationId="{EA04F576-4A6C-E534-80B4-0E5C6B7FA0E7}"/>
          </ac:cxnSpMkLst>
        </pc:cxnChg>
      </pc:sldChg>
      <pc:sldChg chg="modSp add mod">
        <pc:chgData name="Bin, Zhan" userId="b17be1ef-b653-40b9-8ecc-835af7efcb11" providerId="ADAL" clId="{F0E793A0-DD64-4571-93D4-B7E1F4F99426}" dt="2024-01-02T05:39:11.324" v="3267" actId="20577"/>
        <pc:sldMkLst>
          <pc:docMk/>
          <pc:sldMk cId="4118130764" sldId="2147470402"/>
        </pc:sldMkLst>
        <pc:spChg chg="mod">
          <ac:chgData name="Bin, Zhan" userId="b17be1ef-b653-40b9-8ecc-835af7efcb11" providerId="ADAL" clId="{F0E793A0-DD64-4571-93D4-B7E1F4F99426}" dt="2023-12-27T07:32:07.422" v="2035" actId="20577"/>
          <ac:spMkLst>
            <pc:docMk/>
            <pc:sldMk cId="4118130764" sldId="2147470402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3-12-27T07:32:17.305" v="2036" actId="20577"/>
          <ac:spMkLst>
            <pc:docMk/>
            <pc:sldMk cId="4118130764" sldId="2147470402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3-12-27T06:22:14.228" v="1963"/>
          <ac:spMkLst>
            <pc:docMk/>
            <pc:sldMk cId="4118130764" sldId="2147470402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4-01-02T05:39:11.324" v="3267" actId="20577"/>
          <ac:spMkLst>
            <pc:docMk/>
            <pc:sldMk cId="4118130764" sldId="2147470402"/>
            <ac:spMk id="8" creationId="{A9C1BCF6-8BFF-897B-0C19-BC275A0EFE3A}"/>
          </ac:spMkLst>
        </pc:spChg>
      </pc:sldChg>
      <pc:sldChg chg="modSp add mod">
        <pc:chgData name="Bin, Zhan" userId="b17be1ef-b653-40b9-8ecc-835af7efcb11" providerId="ADAL" clId="{F0E793A0-DD64-4571-93D4-B7E1F4F99426}" dt="2024-01-02T05:43:01.082" v="3347" actId="20577"/>
        <pc:sldMkLst>
          <pc:docMk/>
          <pc:sldMk cId="2318945293" sldId="2147470403"/>
        </pc:sldMkLst>
        <pc:spChg chg="mod">
          <ac:chgData name="Bin, Zhan" userId="b17be1ef-b653-40b9-8ecc-835af7efcb11" providerId="ADAL" clId="{F0E793A0-DD64-4571-93D4-B7E1F4F99426}" dt="2023-12-27T07:58:23.595" v="2108" actId="20577"/>
          <ac:spMkLst>
            <pc:docMk/>
            <pc:sldMk cId="2318945293" sldId="2147470403"/>
            <ac:spMk id="2" creationId="{AD26980D-F784-60D4-18B0-C1A9F27B3FEB}"/>
          </ac:spMkLst>
        </pc:spChg>
        <pc:spChg chg="mod">
          <ac:chgData name="Bin, Zhan" userId="b17be1ef-b653-40b9-8ecc-835af7efcb11" providerId="ADAL" clId="{F0E793A0-DD64-4571-93D4-B7E1F4F99426}" dt="2024-01-02T05:43:01.082" v="3347" actId="20577"/>
          <ac:spMkLst>
            <pc:docMk/>
            <pc:sldMk cId="2318945293" sldId="2147470403"/>
            <ac:spMk id="3" creationId="{1CF8A06B-09D9-4636-B0CF-71462AC97364}"/>
          </ac:spMkLst>
        </pc:spChg>
        <pc:spChg chg="mod">
          <ac:chgData name="Bin, Zhan" userId="b17be1ef-b653-40b9-8ecc-835af7efcb11" providerId="ADAL" clId="{F0E793A0-DD64-4571-93D4-B7E1F4F99426}" dt="2024-01-02T02:44:15.358" v="2826"/>
          <ac:spMkLst>
            <pc:docMk/>
            <pc:sldMk cId="2318945293" sldId="2147470403"/>
            <ac:spMk id="4" creationId="{3CDD9887-8ED3-3FF4-98C5-897EF7155228}"/>
          </ac:spMkLst>
        </pc:spChg>
        <pc:spChg chg="mod">
          <ac:chgData name="Bin, Zhan" userId="b17be1ef-b653-40b9-8ecc-835af7efcb11" providerId="ADAL" clId="{F0E793A0-DD64-4571-93D4-B7E1F4F99426}" dt="2024-01-02T05:39:01.278" v="3263" actId="20577"/>
          <ac:spMkLst>
            <pc:docMk/>
            <pc:sldMk cId="2318945293" sldId="2147470403"/>
            <ac:spMk id="8" creationId="{A9C1BCF6-8BFF-897B-0C19-BC275A0EFE3A}"/>
          </ac:spMkLst>
        </pc:spChg>
      </pc:sldChg>
      <pc:sldChg chg="addSp delSp modSp new mod">
        <pc:chgData name="Bin, Zhan" userId="b17be1ef-b653-40b9-8ecc-835af7efcb11" providerId="ADAL" clId="{F0E793A0-DD64-4571-93D4-B7E1F4F99426}" dt="2024-01-02T05:28:45.181" v="3208" actId="1076"/>
        <pc:sldMkLst>
          <pc:docMk/>
          <pc:sldMk cId="3579921640" sldId="2147470404"/>
        </pc:sldMkLst>
        <pc:spChg chg="del mod">
          <ac:chgData name="Bin, Zhan" userId="b17be1ef-b653-40b9-8ecc-835af7efcb11" providerId="ADAL" clId="{F0E793A0-DD64-4571-93D4-B7E1F4F99426}" dt="2024-01-02T05:25:28.855" v="3047"/>
          <ac:spMkLst>
            <pc:docMk/>
            <pc:sldMk cId="3579921640" sldId="2147470404"/>
            <ac:spMk id="2" creationId="{F9DD9425-1DD2-77B2-45FB-92B4F7322550}"/>
          </ac:spMkLst>
        </pc:spChg>
        <pc:spChg chg="del">
          <ac:chgData name="Bin, Zhan" userId="b17be1ef-b653-40b9-8ecc-835af7efcb11" providerId="ADAL" clId="{F0E793A0-DD64-4571-93D4-B7E1F4F99426}" dt="2024-01-02T05:26:53" v="3058" actId="478"/>
          <ac:spMkLst>
            <pc:docMk/>
            <pc:sldMk cId="3579921640" sldId="2147470404"/>
            <ac:spMk id="3" creationId="{E1DBBBA6-F7A7-A5A7-406C-352E9A7E6073}"/>
          </ac:spMkLst>
        </pc:spChg>
        <pc:spChg chg="add mod">
          <ac:chgData name="Bin, Zhan" userId="b17be1ef-b653-40b9-8ecc-835af7efcb11" providerId="ADAL" clId="{F0E793A0-DD64-4571-93D4-B7E1F4F99426}" dt="2024-01-02T05:26:48.211" v="3057" actId="20577"/>
          <ac:spMkLst>
            <pc:docMk/>
            <pc:sldMk cId="3579921640" sldId="2147470404"/>
            <ac:spMk id="4" creationId="{FBC82B3A-F884-5021-890B-B77C1D081007}"/>
          </ac:spMkLst>
        </pc:spChg>
        <pc:spChg chg="add mod">
          <ac:chgData name="Bin, Zhan" userId="b17be1ef-b653-40b9-8ecc-835af7efcb11" providerId="ADAL" clId="{F0E793A0-DD64-4571-93D4-B7E1F4F99426}" dt="2024-01-02T05:28:45.181" v="3208" actId="1076"/>
          <ac:spMkLst>
            <pc:docMk/>
            <pc:sldMk cId="3579921640" sldId="2147470404"/>
            <ac:spMk id="5" creationId="{DFA23FCB-88AD-F616-C859-D27CFC5F1544}"/>
          </ac:spMkLst>
        </pc:spChg>
      </pc:sldChg>
      <pc:sldChg chg="addSp delSp modSp new mod">
        <pc:chgData name="Bin, Zhan" userId="b17be1ef-b653-40b9-8ecc-835af7efcb11" providerId="ADAL" clId="{F0E793A0-DD64-4571-93D4-B7E1F4F99426}" dt="2024-01-03T02:37:52.151" v="3752" actId="1076"/>
        <pc:sldMkLst>
          <pc:docMk/>
          <pc:sldMk cId="3018797156" sldId="2147470405"/>
        </pc:sldMkLst>
        <pc:picChg chg="add del mod">
          <ac:chgData name="Bin, Zhan" userId="b17be1ef-b653-40b9-8ecc-835af7efcb11" providerId="ADAL" clId="{F0E793A0-DD64-4571-93D4-B7E1F4F99426}" dt="2024-01-03T02:37:34.258" v="3750" actId="478"/>
          <ac:picMkLst>
            <pc:docMk/>
            <pc:sldMk cId="3018797156" sldId="2147470405"/>
            <ac:picMk id="5" creationId="{D352D546-59D8-A0C9-9842-94267766BFED}"/>
          </ac:picMkLst>
        </pc:picChg>
        <pc:picChg chg="add del mod">
          <ac:chgData name="Bin, Zhan" userId="b17be1ef-b653-40b9-8ecc-835af7efcb11" providerId="ADAL" clId="{F0E793A0-DD64-4571-93D4-B7E1F4F99426}" dt="2024-01-03T02:36:28.638" v="3747" actId="478"/>
          <ac:picMkLst>
            <pc:docMk/>
            <pc:sldMk cId="3018797156" sldId="2147470405"/>
            <ac:picMk id="1025" creationId="{CADD6994-B6E0-0214-E63D-F2D7C5EDDF2A}"/>
          </ac:picMkLst>
        </pc:picChg>
        <pc:picChg chg="add mod">
          <ac:chgData name="Bin, Zhan" userId="b17be1ef-b653-40b9-8ecc-835af7efcb11" providerId="ADAL" clId="{F0E793A0-DD64-4571-93D4-B7E1F4F99426}" dt="2024-01-03T02:37:52.151" v="3752" actId="1076"/>
          <ac:picMkLst>
            <pc:docMk/>
            <pc:sldMk cId="3018797156" sldId="2147470405"/>
            <ac:picMk id="1026" creationId="{097D7A50-CF8B-5F8C-66EF-8C4C42D47DE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B825CF-F3C3-4B7C-8EDA-14F6DE7E8017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8037C4-45BF-4674-BC36-6747FF57AB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9589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193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50328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98721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48013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2330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97664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92250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93420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6588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4779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5934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1) It’s not adding more to the reps…it’s streamlining what they have and introducing new insights</a:t>
            </a:r>
          </a:p>
          <a:p>
            <a:r>
              <a:rPr lang="en-US" sz="1200" dirty="0"/>
              <a:t>2) Aggregation of data from touchpoint, sales reports, marketing interactions, </a:t>
            </a:r>
            <a:r>
              <a:rPr lang="en-US" sz="1200" dirty="0" err="1"/>
              <a:t>etc</a:t>
            </a:r>
            <a:endParaRPr lang="en-US" sz="1200" dirty="0"/>
          </a:p>
          <a:p>
            <a:r>
              <a:rPr lang="en-US" sz="1200" dirty="0"/>
              <a:t>3) Artificial Intelligence &amp; predictive modeling to help automate analytics &amp; get to insights quicker</a:t>
            </a:r>
          </a:p>
          <a:p>
            <a:r>
              <a:rPr lang="en-US" sz="1200" dirty="0"/>
              <a:t>4) next best action summary based on behavior trends.  Cross-sell and up-sell potential</a:t>
            </a:r>
          </a:p>
          <a:p>
            <a:r>
              <a:rPr lang="en-US" sz="1200" dirty="0"/>
              <a:t>5) improved one-Zoetis customer 360 views across the commercial channels, technical and customer suppor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34385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71634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33428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6126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0563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8057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5722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601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6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7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8.xml"/><Relationship Id="rId6" Type="http://schemas.openxmlformats.org/officeDocument/2006/relationships/image" Target="../media/image14.emf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9.xml"/><Relationship Id="rId6" Type="http://schemas.openxmlformats.org/officeDocument/2006/relationships/image" Target="../media/image14.emf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0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5.xml"/><Relationship Id="rId5" Type="http://schemas.openxmlformats.org/officeDocument/2006/relationships/image" Target="../media/image15.png"/><Relationship Id="rId4" Type="http://schemas.openxmlformats.org/officeDocument/2006/relationships/image" Target="../media/image1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8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9.xml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0.xml"/><Relationship Id="rId4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1.xml"/><Relationship Id="rId5" Type="http://schemas.openxmlformats.org/officeDocument/2006/relationships/image" Target="../media/image13.emf"/><Relationship Id="rId4" Type="http://schemas.openxmlformats.org/officeDocument/2006/relationships/image" Target="../media/image2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2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5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1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1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2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emf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6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7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0.xml"/><Relationship Id="rId5" Type="http://schemas.openxmlformats.org/officeDocument/2006/relationships/image" Target="../media/image15.png"/><Relationship Id="rId4" Type="http://schemas.openxmlformats.org/officeDocument/2006/relationships/image" Target="../media/image2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3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4.xml"/><Relationship Id="rId4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5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6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7.xml"/><Relationship Id="rId5" Type="http://schemas.openxmlformats.org/officeDocument/2006/relationships/image" Target="../media/image13.emf"/><Relationship Id="rId4" Type="http://schemas.openxmlformats.org/officeDocument/2006/relationships/image" Target="../media/image2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8.xml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1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2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3.xml"/><Relationship Id="rId6" Type="http://schemas.openxmlformats.org/officeDocument/2006/relationships/image" Target="../media/image14.emf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graph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7E056B-B67B-4E5E-96B7-9AD5CDC6F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7E056B-B67B-4E5E-96B7-9AD5CDC6F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FD529280-9019-4C5D-A8DE-DE28CDA494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3F2593-61EE-4754-BB94-5BC4BE99CF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7BD735-8139-4CDC-A911-D01E38245250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C21F57-41B0-AB4F-AF30-2FE21073B2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0222" y="6057872"/>
            <a:ext cx="1583677" cy="804488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82562381-0EA8-E940-A0FD-D279D35D47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154927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head | Presentation Date in Arial 14pt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9994BFCD-30EE-7448-947E-D7A05A797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39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in Arial Bold 48p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D39D086-129C-46DF-9EDF-670B8B11279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0" y="1699340"/>
            <a:ext cx="231648" cy="266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161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umbered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88D81-736E-43E7-91B4-C61FB1C955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88D81-736E-43E7-91B4-C61FB1C95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FB1E2AF-8C2A-4527-9C96-C2A5E782B7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992860D-D19C-5045-99DF-7D00241E0C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B917401-3984-6E49-B4D7-4571B51CE7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B93815D-C242-4387-90C8-3F7A417E2BB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8EAEF15-9D2A-4415-A3F3-BD2244442C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4A5467F-B632-4274-B2A9-A10B1753EE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0EBEE7DF-A915-498B-A770-429639B672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CC5D6B9-A1C6-4C3C-81E5-63E6229CC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BDF4D74-121E-4F89-BF77-A3F6E94BD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C3A8166B-32AE-43AE-8B7D-60BB9BA52C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D399AE1-992E-4751-8045-5C7ACEF7EA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EA2691A4-131E-4285-9A10-AD29E006711C}"/>
              </a:ext>
            </a:extLst>
          </p:cNvPr>
          <p:cNvSpPr txBox="1">
            <a:spLocks/>
          </p:cNvSpPr>
          <p:nvPr userDrawn="1"/>
        </p:nvSpPr>
        <p:spPr>
          <a:xfrm>
            <a:off x="464992" y="6459221"/>
            <a:ext cx="241976" cy="16414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C42C27E-A055-1E4A-AC8F-7399EDF815E4}" type="slidenum">
              <a:rPr lang="en-US" sz="1200" b="1" smtClean="0"/>
              <a:pPr/>
              <a:t>‹#›</a:t>
            </a:fld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0514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5033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07359" y="1115416"/>
            <a:ext cx="2693366" cy="87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2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6C65544-D3C9-4DAB-AEB4-82A8A078BE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5729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25904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640C13-64B1-46D3-8B3D-08EA54CA47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8638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1" y="622800"/>
            <a:ext cx="7189999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C0E90EF-97AD-4398-8199-FC4A20A508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077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7151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9139" y="3262146"/>
            <a:ext cx="134190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CD20E6-6DD0-48F5-A768-5AB51E2E4B4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34B6B9-82FA-4348-9FE6-3B77D67918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368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Agenda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235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49139" y="721360"/>
            <a:ext cx="3221931" cy="413512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5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CD20E6-6DD0-48F5-A768-5AB51E2E4B4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134B6B9-82FA-4348-9FE6-3B77D67918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2B2FEF-0357-4270-A63A-3C77044A4A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5838" y="923925"/>
            <a:ext cx="628377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C257BA-5080-48C2-ABEA-26CDB341A3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5838" y="1962870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3297097-968C-463A-8708-8FAF21849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5838" y="3001815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4CFD9C8-903E-4C34-BAD2-2093E5D8DA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838" y="4040760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A46E4A8-34C8-4F96-89C0-6718E86355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5838" y="5079706"/>
            <a:ext cx="628378" cy="687048"/>
          </a:xfrm>
        </p:spPr>
        <p:txBody>
          <a:bodyPr wrap="none" anchor="ctr">
            <a:no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126E3CF-1604-4502-A2DC-B0B9496019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50" y="923925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8F6E999-FFC8-4876-928F-72D33887E2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46750" y="1962870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7DE3CEF-C032-490D-8F15-4848DBD333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50" y="3001815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9B4D222-BB12-4179-B626-4E90FF11EE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46750" y="4040760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64D9CB55-AA3D-4E78-BC0C-47B25B2A74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50" y="5079706"/>
            <a:ext cx="6013450" cy="687048"/>
          </a:xfrm>
        </p:spPr>
        <p:txBody>
          <a:bodyPr wrap="square" anchor="ctr">
            <a:noAutofit/>
          </a:bodyPr>
          <a:lstStyle>
            <a:lvl1pPr algn="l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3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49139" y="2619807"/>
            <a:ext cx="3000261" cy="167802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2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9A342E6-F990-48E7-868E-8A9E07D3A69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F3AF40E-280E-4C7D-A7EB-1F39C4D2DCA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4C95A0E-77FD-4A4C-8103-EC80C8313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CBF8FC-B3B2-4E6D-AB51-D8B0C4AB8A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821EA76D-7803-4BBA-8D0C-4BC79BE2F9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4912A3DC-9D49-4DE4-854B-E21331145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FDF0A690-F5D4-4EA7-BDBC-9B6ADC96E4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02F10844-B80E-427B-9DD6-CB13780C70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0D1805C5-46B1-42BD-BB27-3EA4C0FE01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656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1CB080-5115-46E6-8032-4AD08855A1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5AA9361-0602-42B5-8273-0C0182A9EA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F70E316-0AEB-46E9-B0C8-42ADD63D9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A67DCE1-A4E2-4990-81CE-973C56CB3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EB96B45-0217-476C-8CF3-24990DACA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450859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4FE596-541C-43A7-82EF-B4BE1E1F2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37FB3F4-D6A0-48B4-9DE7-814B71BBDB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BCC1472-CE4D-4395-8FB2-D6D99EEBAA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870D647-F3A6-485C-8A15-901944726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047F2F-F283-4E75-BAEC-A4B647BC1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637353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9A4D87E-E7DD-459F-B053-C1074F198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BCEC6A5-D8C5-4352-AF56-CB17ABFFDA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14D9289-A268-4601-B442-FA3707DD4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458C6B5-1A99-4CA5-B683-25BEE0BE9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2784FED-BF99-4CFC-B229-FAC8E177A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572708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1878B7D-7D6F-4FBD-8210-8AD066A89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A18DE01-1FB3-49EB-AB86-332A004CF1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A4D32A3-4C86-450D-B906-EAF37C9A8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3638D75-E18F-4CD4-8099-F6C7870DC1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541D420-6692-4C37-8E4F-35E5AA03E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997D688-F7C5-410F-8192-B1BBB6EAC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5834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umbered 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0BC7BC-E6CD-4213-B29C-B3F1AD2E5B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0BC7BC-E6CD-4213-B29C-B3F1AD2E5B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E01E9E-E633-4725-9BD4-838FACEB2C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10CD96-DE74-D149-B4C6-7A571D0FE7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B8613A8-9268-6F47-99D8-992362114C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948E8D0-6FF6-F54C-B7A7-91F306FAC4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71851B9-B290-3D49-BFAB-F4FADE4956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BB6BE4-79EA-4AD1-BE62-B676C739D10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137B33-351B-40EB-B5E7-DCE26956E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6969" y="6459221"/>
            <a:ext cx="3291239" cy="16414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167623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2645A3-AF2B-44C0-8D1D-E3D8E7B42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9D2D009-4246-468A-9035-06EDB657C4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711353E-1721-44B1-B75E-717E90E436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937E3D4-62E8-4118-B6C9-B28E5C042E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48F9C815-D707-4BBF-96BB-31E7687427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96D97FC2-0A14-4974-95E1-48D99EB0B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FACCF70F-19A1-44EE-BE92-F06717015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3EC17774-CC33-49CC-AB66-48B2CF3C5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0725735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9174F1C-3C4D-4BF0-925D-0AEB2C051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99F3B10-5E41-4E10-93BC-E343942B7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3072E12-165E-4012-907D-CD685210F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B8229BF1-5E31-4756-B0FE-17E1F3FF2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13880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C2CB2AA-2239-437F-BE02-A5B21CDC71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6B0A496-916E-4AD9-A016-3B37D0513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9312FFC-3786-46BB-A819-54B9070C8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252189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773F91-970A-4036-A917-479164C26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B52863A-9C0C-4EDD-BE56-62BC80DE9C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4623FB9-D16D-4334-9268-6D2435002B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D4F8361-F2E9-48A3-B17C-FBE84FCE4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E9387D0-2E36-4707-92DB-A92E5E7BB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FF5C6E4-C5D3-41C8-9F1C-627BD2E2A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33578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E072C0-737F-45A5-8F89-B4467564A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B8CB1A0C-EDCF-4A70-B7BE-7DBE6E45A6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108D40B-9418-4ACB-879D-AC343500EF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FCA0AA9-6C4F-4F17-9B1C-EB254E9E6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536D6B8-99A4-4B4F-B986-1F905F474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399FBBA-9F1B-48A5-AD7A-CD4C62706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19386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977381C-79C8-4EA7-807F-4942D435D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5648F2C1-22E8-4D1E-AADC-14F01A8625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8059667-92C8-4980-A1AB-24D5ABCBD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49C4574-20AE-429D-BDE0-EF8BDD2660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D8166AE-486C-4AA2-87FD-03C73439C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742819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7D08DC7A-2803-4848-8EBB-2CC18ACEF9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DF01B99-B2CD-4D78-BA3B-0298757403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B96E6F7-1B6F-41DA-9C58-C60AA1F15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C1FCEFB-BA51-4C42-A1BA-DA2746FF9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12C1296-C58A-4AE8-A189-7B3D50D59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08891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08F0C9-97E1-4F4C-94C2-0051C3787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08F0C9-97E1-4F4C-94C2-0051C3787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82A622-8704-4CB3-AC14-D1831BA240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 anchor="b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05DF0F-97ED-4448-BFE5-56833588B9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785F9F-3811-4B6A-BAE1-39C1EE31C6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971138"/>
            <a:ext cx="11293221" cy="2215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08347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385783-73CB-4C4A-8E1D-A79B180FF5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80B8D1D-8D7F-4745-99CC-E918951970D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background image, send to back and adjust crop as need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90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9AA6C1B-B358-4575-8E11-E19A2F0F6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9AA6C1B-B358-4575-8E11-E19A2F0F6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E0A572-DACA-4224-B5D5-A123BA22F5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BD1B14-3AAC-694C-8F9C-2049F1A49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263507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E62F97A4-35D5-2545-8B16-5DEB8757C2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3B7EC0-38E8-8C4D-B8B5-E42E955368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FFFD38-545E-4640-B49F-360BB382040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E1969D-4AA3-4C43-8C25-D3016969396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35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L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B2EF7E-3F54-4988-87AA-31FE69ACF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B2EF7E-3F54-4988-87AA-31FE69ACF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E33D3DE-9A4D-4391-946F-5BAFF335B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316BF3-C09D-4D49-A87A-C380337E1B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18866D-9624-E345-895C-23E63D0123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63CBB935-2BF8-9145-AABF-1E83263088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6"/>
            <a:ext cx="8234988" cy="4103905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2F28D6F-B104-4B4B-9AB7-5B3B935DE3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405907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or Section Break - Photograph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2C242F-FDB2-4DE7-BA68-8AAAB0786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2C242F-FDB2-4DE7-BA68-8AAAB0786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177CA2-DF9D-43E0-984E-54E2A6A2BB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01E043-4136-8B42-BC49-C6FDB049732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background image, send to back and adjust crop as need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46A8ED-F4F7-7443-8AE0-A3ADB8C6368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D6E9710-5F48-DA4A-91E1-8EC2E567D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7"/>
            <a:ext cx="814942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E5FE0FA-1734-C149-A424-D84F13B2A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E122968-A462-4405-9EC1-1CE1D7A268A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40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Sea">
    <p:bg>
      <p:bgPr>
        <a:solidFill>
          <a:srgbClr val="0151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EB1C7-3A58-4EE0-990B-80551B675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EB1C7-3A58-4EE0-990B-80551B675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BECE64-6300-4486-A3E9-C02E112C81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4FFEAB-A466-B445-B408-81992CE681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5EC24F8-1F7B-6B45-811D-023ADD801F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6368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1F3920C-915D-944A-9742-DC1A72423C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6B4F34-03DB-4865-8F26-4EFB2B1C3BB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33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Forest">
    <p:bg>
      <p:bgPr>
        <a:solidFill>
          <a:srgbClr val="0059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682D34-5A60-4F5E-87DB-A70F6E7C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682D34-5A60-4F5E-87DB-A70F6E7C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8BCEDC-6483-4FAA-A3F7-2812A87DFA6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648533-4E30-1045-BBF3-457D93733E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ECEE9772-ED08-8A4E-B1D9-11397D0E0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8507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D5D8344-9D8C-8640-A095-61638535CF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AD0BD7-2C5E-42DB-8F0B-04C7D89C55B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r Section Break - Soil">
    <p:bg>
      <p:bgPr>
        <a:solidFill>
          <a:srgbClr val="502C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C2CFAD-FED6-46CC-B750-6A579AE70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C2CFAD-FED6-46CC-B750-6A579AE70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56017CF-CFB4-4F85-B4F9-A2DA45CA11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CCC3D4-88F4-E641-9AB1-316EA7ACFF8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F55C2B3-2403-AB4A-9339-5D2B608FF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8" y="592665"/>
            <a:ext cx="8185079" cy="4103904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or emphasized key point in Arial Bold 48 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1D43D968-63FB-9B4B-A8C5-2B0C30D892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33830"/>
            <a:ext cx="564686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8F9890-4DE3-460F-90BF-D691A59360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69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Image w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D0FAB-4EED-49DC-AFC4-01F8EF427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8D0FAB-4EED-49DC-AFC4-01F8EF427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D90DC5-C759-4F0F-A8F7-2392D5DEB2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436F944-748A-FE4F-A5B8-0EF05B6FEB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Background Imag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37708B5-7C7E-7941-8D52-FD0C96524F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140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3D4C4828-5F29-2F42-90C7-F1E494E41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317" y="592669"/>
            <a:ext cx="5628683" cy="2479337"/>
          </a:xfrm>
        </p:spPr>
        <p:txBody>
          <a:bodyPr vert="horz">
            <a:norm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in Arial Bold </a:t>
            </a:r>
            <a:br>
              <a:rPr lang="en-US" dirty="0"/>
            </a:br>
            <a:r>
              <a:rPr lang="en-US" dirty="0"/>
              <a:t>48p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5D0AFD-4358-7545-97B1-A741AE578F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03A864-6359-3448-AFAA-135F0374EE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BC1D878-0F6F-8B4D-84DC-B309F6A23E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072006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F28A1A-9648-4031-984B-8B131F588AF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37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90FF6A-37C8-4240-B393-0D11079B32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378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mage 25/7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C109F5-8BC0-44C7-B201-9364F7E7F0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C109F5-8BC0-44C7-B201-9364F7E7F0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E8EDC7-F7E5-490C-A417-798487AC1B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07C034CF-3A8A-4540-82AB-9EA807E377A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0053" cy="686409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7860656F-FA0A-0C44-BE09-A3A77C5F2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583097"/>
            <a:ext cx="3258017" cy="3909391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</a:t>
            </a:r>
            <a:br>
              <a:rPr lang="en-US" dirty="0"/>
            </a:br>
            <a:r>
              <a:rPr lang="en-US" dirty="0"/>
              <a:t>48p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DE4B4F-0D62-5343-B972-1F46C3FCF9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305E8E-2D6C-A741-AED2-7233B738A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617F92-2EF4-4101-94A9-680458F1541F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600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440963-052C-478A-B7F4-8FAD0F4D91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440963-052C-478A-B7F4-8FAD0F4D9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F95567-1E50-4544-9BD8-E8EB6DD197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D1C187-0654-DD4B-B6ED-23DB7B18F70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04E5D3-BCFC-BD45-8EB8-00C5D711E2F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DB6A547-D383-CD4D-9A31-701C037BA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B8E392-6F83-456B-A15F-7A5B89056DA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90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DC3E35-4597-4555-9B22-A7A727BC4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DC3E35-4597-4555-9B22-A7A727BC4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F74BC4C-C6D4-43F2-B833-6C866ECA0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468" y="333830"/>
            <a:ext cx="5280341" cy="222684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B7FBBB-23AD-BA4E-99F5-45EFF0A025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C807106-F4C6-4179-B951-14CB1C5EA22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17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FE28D9-8C4B-4447-B8E2-FC2756C3A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FE28D9-8C4B-4447-B8E2-FC2756C3A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74A8DDB-EA17-40FB-BADA-96563AFE4DB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B8F768-BDFE-8743-A7CD-33119B2DB7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3D015CC-B433-774E-9371-B1C0510F9F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473497"/>
            <a:ext cx="5280341" cy="114649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head (optional) in Arial Regular 14pt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2668"/>
            <a:ext cx="5280341" cy="283633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1EA8C2-D051-6740-A81D-5062D95089B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388273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Headline w Image Rev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B87FA8-C52A-4F81-A1EA-98F0F9247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B87FA8-C52A-4F81-A1EA-98F0F9247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AB077D-96FD-4D7C-9A6A-554366EDE6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C34F49-CB50-124E-8911-B86AA005D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760" y="333830"/>
            <a:ext cx="5280341" cy="222684"/>
          </a:xfrm>
        </p:spPr>
        <p:txBody>
          <a:bodyPr lIns="36576" anchor="t" anchorCtr="0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A40FDD5D-0E75-6A46-9702-74AC0BA1C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759" y="592668"/>
            <a:ext cx="5280341" cy="2836333"/>
          </a:xfrm>
        </p:spPr>
        <p:txBody>
          <a:bodyPr vert="horz" anchor="t" anchorCtr="0">
            <a:noAutofit/>
          </a:bodyPr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48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FA4844F-AD3C-2D46-9784-9D7BC8A19B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4384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68485A-0B71-8046-99C3-C347F08F906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F1BD62-0544-7749-82E5-C8D6571714A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F61E08D-102A-EE40-AF92-4681098755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7759" y="3473497"/>
            <a:ext cx="5280341" cy="1146495"/>
          </a:xfrm>
        </p:spPr>
        <p:txBody>
          <a:bodyPr anchor="t" anchorCtr="0"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Subhead (optional) in Arial Regular 14pt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282527-9FE7-43D7-B86B-B98FCD79F93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5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606834-AD16-457E-B56E-5D2CD8E67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606834-AD16-457E-B56E-5D2CD8E67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BE409E-2EC0-48C6-A116-21541FB6C8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34716" cy="783568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DEDE54B-806D-5A44-BF98-74CD9AAAA40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9139" y="1282970"/>
            <a:ext cx="7434716" cy="576409"/>
          </a:xfrm>
        </p:spPr>
        <p:txBody>
          <a:bodyPr>
            <a:noAutofit/>
          </a:bodyPr>
          <a:lstStyle>
            <a:lvl1pPr marL="0" indent="0">
              <a:buNone/>
              <a:defRPr sz="2667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(optional) in Arial 20pt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41422AE6-28A5-9A49-9C92-1CDDD2487DCB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49141" y="1996122"/>
            <a:ext cx="7434715" cy="4151213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24921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3C5A1A-2F71-41BD-A733-5334FAB19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3C5A1A-2F71-41BD-A733-5334FAB19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7794C4-59A8-4C7D-BDEB-69D3950C7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C2EB25-3A5F-FF4F-97EF-668457FD34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8000" y="0"/>
            <a:ext cx="4064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7434716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DCBCE08-7ED1-6448-BB04-6AEBF9168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2369352"/>
            <a:ext cx="3596640" cy="3726649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E1BA862-9265-7049-8D5E-55B0A8589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EE868FB-99C7-DA49-8CE7-B585813918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3067" y="1832965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1" spc="-67" baseline="0"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C6CD162-0619-E24B-8BBF-468991FB3A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09964" y="2369352"/>
            <a:ext cx="3596640" cy="3726649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E8121-DBFD-FA4F-B160-50475E33FE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6" name="Title 7">
            <a:extLst>
              <a:ext uri="{FF2B5EF4-FFF2-40B4-BE49-F238E27FC236}">
                <a16:creationId xmlns:a16="http://schemas.microsoft.com/office/drawing/2014/main" id="{23284763-019C-2F46-A596-041F9C255F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450568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</p:spTree>
    <p:extLst>
      <p:ext uri="{BB962C8B-B14F-4D97-AF65-F5344CB8AC3E}">
        <p14:creationId xmlns:p14="http://schemas.microsoft.com/office/powerpoint/2010/main" val="405458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282376-1A27-4BC0-9AB5-1239B46E8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282376-1A27-4BC0-9AB5-1239B46E8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6ABF3F-FB52-47DA-90E6-76414E5419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9139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90731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3" y="1641569"/>
            <a:ext cx="3596640" cy="217162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mage and adjust crop as needed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4020607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4457060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278661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 w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EC83D7B-7474-4609-A9B8-EB1245295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EC83D7B-7474-4609-A9B8-EB1245295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954A12-A613-499C-804D-582FE9873B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6F060F1-F024-AD44-AD87-189B3710A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39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1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5122130-F2CA-9945-899B-032BF59A9B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139" y="3772907"/>
            <a:ext cx="3596640" cy="1486539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A167143-D9F8-5B49-8B38-8E85C90CC3E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1561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4701BDD-FE81-9A41-98F0-D4DC7216B7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83153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8B14D350-1875-4A48-B63F-4BE147B1452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745" y="1728565"/>
            <a:ext cx="1525327" cy="1348407"/>
          </a:xfrm>
          <a:noFill/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C3B15EB-2551-C442-BD02-8DE1D37D5C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32323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3 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95DCDD3-D6B5-3447-BC63-7B910A9695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32323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26676AFD-CF8A-4F46-B013-E3C1181AAD7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0731" y="3336454"/>
            <a:ext cx="3596640" cy="436167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667" b="1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lumn headline 2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D87726F-1252-4546-8B0C-602FECB75E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0731" y="3772907"/>
            <a:ext cx="3596640" cy="1486539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Bullet and copy set in Arial Regular 14p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CD84C9-F0FB-EE45-A61A-BDAF8855F1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07C8547-F508-5248-AB66-63EECE5B2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D388168-0F6B-4C47-9A47-195FA7139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</p:spTree>
    <p:extLst>
      <p:ext uri="{BB962C8B-B14F-4D97-AF65-F5344CB8AC3E}">
        <p14:creationId xmlns:p14="http://schemas.microsoft.com/office/powerpoint/2010/main" val="155322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B78408-78EA-45A3-A850-B4FC960336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7B78408-78EA-45A3-A850-B4FC96033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1B02DF-8463-476C-A345-CD1C14782D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10EF64D-9175-44B7-9E7B-A832C7BFCB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133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10FEA499-CCB3-4D76-949E-A4D64C2AF5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77184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B41F0CC-745A-46C5-B019-D5D25ECC8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8023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ECB95669-CC78-4BA3-923A-0412B8ED5C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83285" y="127000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36A92F-09B4-ED45-BCB3-F8E373E9D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5C31A35-FE09-294F-864A-B52539B93E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08E47A-1C17-C94D-9D44-2D5E8879C1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55D6CC5B-DB7C-A048-A30A-4A3013892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7675605" cy="675920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0E5C0B94-AE29-400F-911E-1F2348F639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133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CDD70593-0B07-4C00-8A6D-C398007DFD1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77184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25E8BBCE-1B77-4CBA-8217-A27C64F5F50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8023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FDF46C9E-6DCF-436B-BA5B-6438B43412B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285" y="3064509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69693491-1AB7-4F81-A448-FCC65E6A86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4133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485B7E4-3525-47AB-9991-31B34219386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77184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1223DE29-7735-450B-A1D4-4437F12BAF1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80235" y="4859020"/>
            <a:ext cx="2718816" cy="160020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190DB32-9428-48C8-8010-692FECE20A4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83285" y="4859020"/>
            <a:ext cx="2718816" cy="16002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9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320CCF5-0045-4E62-B7C1-920D2FEBAED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1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371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 50/50 SPLIT: COPY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B77B9A-DE2C-4661-AFB8-9EBA53BF22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1B77B9A-DE2C-4661-AFB8-9EBA53BF2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63FA6C-9FC4-437D-983D-7E48EE9F4B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D04829-9CCA-BC44-A025-DCD49708003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C6A5818-4520-DC46-A993-B6307A75C6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71616" y="0"/>
            <a:ext cx="6120384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1E2D4-E5E3-A941-882E-26E2775F56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4"/>
            <a:ext cx="5280341" cy="118186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902F678-AE77-4543-972F-AB392B6679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280341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B900571-19D3-CA44-87E5-211E5D5955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139" y="2706356"/>
            <a:ext cx="5280341" cy="12811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8687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6075FF-7EBF-473F-9FC5-A795B662B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6075FF-7EBF-473F-9FC5-A795B662B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2F0FFBB-3417-4315-A2F1-0AE4752141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195072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noFill/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Add Background Image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20C124A-CEFE-D041-B9DA-A1303F6E15F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3967" y="6319780"/>
            <a:ext cx="948267" cy="35773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73DB67-F6E0-AA49-9F20-6B58B5680EFD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52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8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999A0B-884A-4C1C-BBC6-EFCAA1788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999A0B-884A-4C1C-BBC6-EFCAA1788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0C54D3-CA4A-4440-8CA8-976703D746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96061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2957183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305805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6DE71005-F30C-7249-A846-E517B63AC7D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2896061" y="3865481"/>
            <a:ext cx="195072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0CF8F555-AADA-9040-AAC6-0B365EB306E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878392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8A844426-3464-FF4A-A7DD-6B411CED5F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878392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5ACE3ECE-2B1E-4241-97F4-9BAA2F56129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138429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64440BE8-613A-8B48-8026-5784881B4C4C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44175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B887A33D-08F1-F142-90B4-C73158EE32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745087" y="3865481"/>
            <a:ext cx="2011680" cy="1645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62" name="Text Placeholder 12">
            <a:extLst>
              <a:ext uri="{FF2B5EF4-FFF2-40B4-BE49-F238E27FC236}">
                <a16:creationId xmlns:a16="http://schemas.microsoft.com/office/drawing/2014/main" id="{7AFC6281-71E3-234B-AFF7-D882EB7FFDF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38429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8DC8FFFA-E1ED-6C43-983E-2B5531DD21F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38429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270C43BF-0E3C-804A-9F17-CD85043F83A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44175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76100AF-F666-494B-BD94-26605B353CC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44175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5B16FDFA-7444-1141-9B53-CDE4B2614E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745087" y="5536938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3098A008-3717-5B4D-8E9C-A11828CD7BF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745087" y="5885560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6583E79-1016-724D-A492-4C7A3AD280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6623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 - 4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039950-F2B9-46CE-B04A-48FB78276F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039950-F2B9-46CE-B04A-48FB78276F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B8FAF0-65FB-4F6C-976D-A5EF203305F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67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21AD29-8628-CB43-BE58-E137EB29F8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883DD2-7E47-854D-A4FD-97D6ECAE81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139" y="333830"/>
            <a:ext cx="5446893" cy="222684"/>
          </a:xfrm>
        </p:spPr>
        <p:txBody>
          <a:bodyPr lIns="36576">
            <a:noAutofit/>
          </a:bodyPr>
          <a:lstStyle>
            <a:lvl1pPr marL="0" indent="0">
              <a:buNone/>
              <a:defRPr sz="1067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6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457189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68260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91437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en-US" dirty="0"/>
              <a:t>OVERLINE/SECTION (OPTIONAL) IN ARIAL 8PT ALL CAPS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C2FD738-4868-3242-9008-3256B60172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78392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DD1A3011-F07B-2C4F-8FD5-279854FB39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8392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2965E2DC-2148-5E41-90E3-D170497AEA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8392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7C8D64DC-2473-1C42-86AC-79F8FC4786C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38429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2" name="Picture Placeholder 4">
            <a:extLst>
              <a:ext uri="{FF2B5EF4-FFF2-40B4-BE49-F238E27FC236}">
                <a16:creationId xmlns:a16="http://schemas.microsoft.com/office/drawing/2014/main" id="{56C3C00F-500E-0542-A274-524DB9C95B0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75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3E871ADE-2074-3441-BB79-4E9B152BFEDD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45087" y="1285727"/>
            <a:ext cx="2011680" cy="18288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1467" i="1"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Add image and adjust crop as needed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BC70101-0AE1-5647-A382-86968FFD26E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878392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2EE5479D-05C1-0949-A031-548A50B23D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38429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0F3D2B7E-D576-034D-9E2D-FD70346C1FB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38429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E6DA0C0B-4BAE-7942-9BA6-9561FF04580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138429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8C0DE4EA-5396-0048-89EB-7A28D116FD3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4175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8EA5FA90-2FE1-844D-9E44-ED3F8478B2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44175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28E6BB8B-F7DC-BF4B-AFB3-C5610E9BC24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44175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662C177D-F2D2-474F-8EA8-EE5688E329B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45087" y="3186885"/>
            <a:ext cx="2011680" cy="335575"/>
          </a:xfr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1867" b="0" spc="-67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me Last name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3354ED0-5E4D-2147-A8F9-8B86A9CDF5A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745087" y="3535506"/>
            <a:ext cx="2011680" cy="29587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 dirty="0"/>
              <a:t>Company, Tit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9AC86887-AB69-FE44-88C0-7F2D6F32F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745087" y="3974138"/>
            <a:ext cx="2011680" cy="2176847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latin typeface="+mn-lt"/>
                <a:ea typeface="+mn-ea"/>
                <a:cs typeface="+mn-cs"/>
              </a:defRPr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853419" indent="0">
              <a:buNone/>
              <a:defRPr/>
            </a:lvl4pPr>
            <a:lvl5pPr marL="103629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94290A-5150-124B-AAB7-D11383546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272190"/>
            <a:ext cx="2273572" cy="4878793"/>
          </a:xfr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4267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eadline in Arial Bold 32p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2BD0B31-FC2E-6C46-ABBE-6968983428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761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5B0DE9CD-4E5F-44AC-A04D-D265EC2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5B0DE9CD-4E5F-44AC-A04D-D265EC2136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718630-A23C-4107-8F55-A522A14219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7029551-35CC-4486-954C-B8A3F1875F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DB5E5-E0F1-4C9A-A1BE-C6807CF530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1075913"/>
            <a:ext cx="11293221" cy="2769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BAE7A3-04E3-4249-8FC1-FD5911A6F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800" y="6459221"/>
            <a:ext cx="3185408" cy="164148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36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AF98C28-42E6-4451-A40F-BE969156D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AF98C28-42E6-4451-A40F-BE969156D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43D9FA-B369-4219-90F0-88A84E734D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</p:spPr>
        <p:txBody>
          <a:bodyPr vert="horz"/>
          <a:lstStyle>
            <a:lvl1pPr>
              <a:defRPr sz="3200"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139" y="2085629"/>
            <a:ext cx="1129322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F599D4-04B1-4598-BE29-D6E1F597FB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9B4E31E-C40E-41C1-895B-D549AE842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2800" y="6459221"/>
            <a:ext cx="3185408" cy="164148"/>
          </a:xfrm>
        </p:spPr>
        <p:txBody>
          <a:bodyPr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Presentation Name or Footer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71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FACCBE-798F-44D7-ADF1-75A5953C07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FACCBE-798F-44D7-ADF1-75A5953C0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197A58-7260-48A9-B53F-78EF79CE3E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3"/>
            <a:ext cx="3452400" cy="1495795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87263A-B419-4B45-A641-DE97526C6AF3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6FE23FE-8BB0-4C33-BB18-12F10DA89C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5374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2F14AA-2AAF-404D-9EEB-72C6AD2266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2F14AA-2AAF-404D-9EEB-72C6AD226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6A933C-13F2-4731-B2B9-CF417EE36F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333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333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34B630-2166-4231-9FAD-ADE36F60A1C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C3903AA-B1D0-42C6-8E66-ECEA977B1FD3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806CC0E-A598-464E-88AD-083C8F85C9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BA351348-8FB8-45B4-BD5C-B51E968445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BBE80AE-7864-4635-8711-AE9D4CF567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F0D7FEF-B91A-483A-8916-BBAC73CD1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56DBEAA4-5C1A-4E79-B596-FD9343B45F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9BE27C4-7814-49FF-8419-4CCA2FC2E5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BB6B59FF-373C-424A-AE15-E8B4C00213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308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B78B7-541B-4FF6-96D9-19C1BD7B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B78B7-541B-4FF6-96D9-19C1BD7B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98A148-642A-4C3F-BFEC-07BC0AB7ED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333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3826800"/>
            <a:ext cx="11117661" cy="2041200"/>
          </a:xfrm>
        </p:spPr>
        <p:txBody>
          <a:bodyPr vert="horz" anchor="t">
            <a:noAutofit/>
          </a:bodyPr>
          <a:lstStyle>
            <a:lvl1pPr>
              <a:defRPr sz="5333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49139" y="3680016"/>
            <a:ext cx="1174606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9E001DF-5F73-4DF6-8473-535AB6EC9C89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2670430-4F80-4B2F-A944-9AC06B5BDC6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FC206599-03B8-43DD-8DCF-28C988ECB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96D898DC-BC42-4DCD-97CC-2E718F8445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3E6C211-8784-44E1-A8F3-DFA979FD60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35D6FD1-2379-44BA-B71F-A9F16410DD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EC2E2A6E-333E-4DD6-A6E0-0104B10BCB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46F6C8D-07F1-4B70-9F17-D815E5C1B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3CD0D165-066C-4D3D-9292-C896EA13F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058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E5EF1A-3369-4DB9-8C60-0503723388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E5EF1A-3369-4DB9-8C60-050372338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C01B79F-833C-4927-8D3F-170D1D8266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657C23-C7D5-4760-84FF-210ED76C1F1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296E0C4-D37B-4C74-874F-A1E2600404F2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01AD1B55-C34B-4DE9-A7CF-F44F343AB1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53D754E9-C94A-4795-AAE5-FFB876821B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A035C470-1A71-4DD9-B761-796851C9DE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0A15FDE3-0856-4F2A-B878-1EFFE56A08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A2B12F2C-2075-4ADD-87F6-C5A83671D7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58CF3D6B-D7DB-4469-A715-61DD70712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0FD4B2A2-5957-4FD2-A4EF-B514A2B43F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947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53A0619-3DC1-4D9B-8CD7-93EADB4A221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44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990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5039F9-D7DA-44DB-8D73-0327FA4E27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5039F9-D7DA-44DB-8D73-0327FA4E27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26DD950-C4B8-4B8F-8110-72A728ADF8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1468F44-647D-464E-88E2-6A5D4EFA45C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317D6EA-C673-4165-BA27-21BD5774C9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8508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633EEEF-2331-4CEF-A247-5FDD7076B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633EEEF-2331-4CEF-A247-5FDD7076B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881F82-CFCD-4548-8514-C3FCBD1DEA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49139" y="1785600"/>
            <a:ext cx="4569261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3AF2822-8C70-4C3E-BA77-9CE9D93DA3AC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007652F-94F1-4FBC-8193-56E028E3C1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2333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229931-02C2-4887-9735-D0452DA1E3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229931-02C2-4887-9735-D0452DA1E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ACB981-FFA6-4044-8046-A6A8613DD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1804651"/>
            <a:ext cx="6428413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FB16D5-480E-4ED6-BF89-9FFB552239C1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84CAC58-60E1-4AFB-8593-5ADB14DB396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4700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A7B9F3C-31CE-43F1-9BE0-402B4D408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A7B9F3C-31CE-43F1-9BE0-402B4D408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379A984-322D-4828-AB7E-2B0C11C1B8EB}"/>
              </a:ext>
            </a:extLst>
          </p:cNvPr>
          <p:cNvSpPr/>
          <p:nvPr userDrawn="1"/>
        </p:nvSpPr>
        <p:spPr bwMode="white">
          <a:xfrm>
            <a:off x="1" y="0"/>
            <a:ext cx="6095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B76949-2C63-4C1A-B3CF-0BB5BCEC2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3"/>
            <a:ext cx="5260545" cy="443198"/>
          </a:xfrm>
        </p:spPr>
        <p:txBody>
          <a:bodyPr vert="horz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C95AE-03E3-4482-830C-40BF988588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883D20-4C3E-40A3-B39F-B861CF771BD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5400000" scaled="1"/>
            <a:tileRect/>
          </a:gra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FD2F4A-8D2D-4F60-9C01-DDEB3887CB5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FE70BFCA-F94E-40B5-909B-51CD5C3AFD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2338418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2E2F568-1958-4A47-BDA4-34DCDBD67C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71266" y="2775970"/>
            <a:ext cx="2338418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D8FDC75A-A30A-4D07-A0C2-125343BD5C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2338418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CEDCA180-9913-419F-ACF8-8AF02F4213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71266" y="1830835"/>
            <a:ext cx="2338418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D1748D-80C5-49BF-932E-560AAA44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095999" y="0"/>
            <a:ext cx="416951" cy="68580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614B57B-712B-4578-88B9-BC3E558087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2ECCEFA4-FD93-4CE5-94F2-37DE5C435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A00664A-EBEB-42EC-8979-BF6A08935B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D859121E-039C-4391-B4B2-C23649B3B0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01D63C8-2EFB-4096-95B6-9B0F5A292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4854C5A6-A75E-4556-A3F8-2CB5D556A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996AF31C-3839-47A0-ABCE-8B0A15CD16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6C84500-54A4-4E12-8648-45B39AA0A1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231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08365B8B-ED68-43B5-930A-332D4232A7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2BD2820-0E59-49F4-B0E9-665A5E1685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475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21ECB7D0-CA30-4AA1-8B57-420A337C75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46292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CB9419A0-6CC4-493E-BC5E-0F138704D2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E50ACB46-4D1A-444D-9A97-B04CBF98EF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475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4B396843-7766-4BA4-A920-D1EF8F217C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46292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57386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03EF61E-6D63-4F43-89EB-B25D00A45D58}"/>
              </a:ext>
            </a:extLst>
          </p:cNvPr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168182" cy="443198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3200"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EA8D4619-4834-4983-A3EC-84B39EEEC6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7307EDB7-8F80-4A4B-950C-7168F4464E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58772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DF330540-BDBF-46BC-B753-12AC85D0C2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05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B93E8B15-3AF2-44B2-AB41-9D67AE3B34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3820E219-F310-4F34-8AAC-4F2BE69AA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8772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1098FEB9-1B37-4C9A-A80F-AF88D69714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8405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93766349-FF8F-443E-82FE-248E86BD5C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78036" y="2775970"/>
            <a:ext cx="1839284" cy="3133667"/>
          </a:xfrm>
        </p:spPr>
        <p:txBody>
          <a:bodyPr anchor="t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E4A7EE6-1D40-458F-8BB9-0268398CA5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8036" y="1830835"/>
            <a:ext cx="1839284" cy="817310"/>
          </a:xfrm>
        </p:spPr>
        <p:txBody>
          <a:bodyPr anchor="b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636451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A75731-ADF1-4DAA-9925-DEF341892B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A75731-ADF1-4DAA-9925-DEF341892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1472FA-1D0B-4192-BA4D-E9650FA19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297FD91-543F-4EBA-97B7-0C2113A4FB1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05A397D-EC84-486E-AFD3-F84BBB97D96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E8B16169-3FFA-4BC6-BAF7-771A66FF2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F0CB716F-B026-4135-801E-75D2071069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53DE0134-8C5E-42F3-8540-D64B39E5BB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4FAE18B3-BC6D-4048-9584-9E9D6CF050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92028DD4-9AF2-4AC0-9086-6B7CF7860F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875FCD05-5CFC-4B76-9607-6FC598CD14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5784BF75-C8A3-403A-AD1B-E5BC488D2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311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E94C23-3FFE-4977-852A-01556B4970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E94C23-3FFE-4977-852A-01556B4970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D51880-A5FA-4BE3-9D82-C0035FAE33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</p:spPr>
        <p:txBody>
          <a:bodyPr vert="horz"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5B0DDFB-269E-4591-9532-20E9F2E8970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5C5FC04-03DA-4EF0-8341-E4192FB6389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5300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6974CA-C095-4788-8C07-BF497F58C3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C5EF5AD-DAE7-4585-8BE7-6D34D6B9444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52927EF-1E8C-45D7-B437-B66D56D9ADF1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0866E09F-A17F-48B2-925A-4F88C4EC2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F6DB011-3658-4CA9-A4E5-8372DC0562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08E67017-24FC-4C74-99EA-6C67E00E85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4B1063D9-8A6A-43D5-A475-7A173B55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FECB333-1DE7-455F-A3E0-D807860591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0D2AB7D-9AEF-4E76-9ABB-124E3DE0F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23C6FD9-514E-4848-A3B4-C2E3E3D7A7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32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2A83A1F-001A-45DA-820C-F4C6FA34E1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1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51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8B3561-2276-4F7E-9BC1-A956D4329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8B3561-2276-4F7E-9BC1-A956D4329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C1D8FD5-7B74-4B4C-85C9-98B464CD5F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3F54753-A23F-40F3-8B0D-CD9101395FC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5EDB27-A264-4D3B-99F5-6002EFD407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3068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03A7E2-1F45-4FD4-A804-B929CE1B84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03A7E2-1F45-4FD4-A804-B929CE1B8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8FF9A7-B1B4-47A2-BEF1-1C338492BA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854508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D4328B4-F14B-447E-A31E-BF0057EC1C5F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3928E2A-657A-4F88-82C6-98B52D79091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1957B9D5-8AF0-4AA0-94F7-A17DB31AB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A3FEC6A7-8DBA-452B-827A-D5E1CA4F3E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D96E8D0A-EFB2-4D17-97C4-3C38914E00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2B66A3BC-B239-47AF-ACC5-0EA9784C13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1D95934D-A01C-4E6B-8633-1382C6B9A1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0844377C-574C-4F1D-B04A-CCC1CBD1B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2575DBDC-3D06-492B-A242-2D24E98D7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006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D1A176-784C-4D83-88CE-C04D954C3A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6D1A176-784C-4D83-88CE-C04D954C3A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840F10-8164-4796-AE1A-2218EFD08F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854508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4F549EC-2F85-4006-8F69-70119DE9BBB5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2641B28-FACC-489C-8F67-E209E4176C5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96951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830C4C-05AA-419A-8DBD-B48289CB2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830C4C-05AA-419A-8DBD-B48289CB2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D48370-2D6A-4CB9-A0CB-597C537037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7FC62AA-FDB6-4B96-B380-0A04EEDFC74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5EDFAC1-9F56-4446-AEFA-7A00094CECF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36C644E6-CBDF-49BA-8B56-C79A15CAA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32ACC3C3-73C7-41B4-BFB2-705CEB2C81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91635B17-09B4-41F0-ADBF-2EC8853DAC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48209E7C-EF38-473B-9434-89DCC06021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6ED8924E-5492-4133-856E-50E148171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3534E03F-6A56-489D-A887-6DC8FC6B7F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CB374C3D-789E-4244-89AF-5395E8734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443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9CF924-F4F4-413E-B3DB-B2EA57F58E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9CF924-F4F4-413E-B3DB-B2EA57F58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9E9961D-BB7B-4473-A270-4E2383B2FA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256800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D87B75-9722-46B3-9D65-2E1C6B30593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C661F92-BA61-4A86-AA3A-B9AEFC45F2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306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1557D-D9DB-4E61-A5F9-8A887D0D1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1557D-D9DB-4E61-A5F9-8A887D0D1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FD9D80-BCB5-4A49-8C53-2DDB690D24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B24A11-255F-451B-B8BC-7D388043819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92EBB5-F555-4298-A080-5BB447A8E769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6759B20-1BDF-4114-8BDD-67D3897BE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D796A157-0882-4413-9E30-93F65CE864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B924AE77-2C5C-4908-84F7-7D9613982E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3DB07799-A08F-4024-A91B-74AF53A856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92CA5B6C-7682-43C2-9B14-058FDA9ED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F03ACA84-433F-4CF1-ACDF-092A0214FF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DD220367-D315-4B57-909C-90B6B6C8D9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337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0C4918-A20A-4459-BF7D-CE0C63F88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0C4918-A20A-4459-BF7D-CE0C63F88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D4A3CF-9444-4374-A687-1B92B4EE77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49139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7FD60DB-0E6C-4F75-9F26-9D34367277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399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E508A4-0807-4995-BD38-2CA2960BC9D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77B79F4-061D-4E05-8EF7-F63CCBBCDA5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DF2FE92-CEA0-460E-BE90-5AB5EA226D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B15CBD5-E831-4DA8-858C-83F82B3B7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ABCDFC67-0612-4B47-A3ED-D2B08369E6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47F99DE-D24A-43CE-9946-C0DBDBE3B9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A54E8325-4EC6-4420-869A-89E3F0F0E7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33A4385-0248-4F19-9C42-3C5CAAF1CD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3F379B5F-DBFD-4496-9AA9-B718C9F3F1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820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2F4CC9-D3BD-4931-8C76-815846C485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2F4CC9-D3BD-4931-8C76-815846C485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2052F1-4F3E-47CE-8722-8B3BCC1D57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443198"/>
          </a:xfrm>
        </p:spPr>
        <p:txBody>
          <a:bodyPr vert="horz"/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C92180-ED65-4432-8D7F-65F19BFC457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3785CA1-2129-43E6-B668-6E1CC51DC2DB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3EABC25C-438D-4EC5-9068-0B5DD9F5AC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694275E-99FC-4B7F-BAFB-CBACB74A8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EA9A981B-FBEC-4C9C-A231-F0568B63EC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8DC7543A-37CF-465F-BD8D-5AE8AC67A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795ACC4-2494-4E9E-A8B5-20267A2541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1563FFD8-CCB8-432E-B1F9-DE561BD588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28DCAB74-2D05-49C6-8D98-5E835E07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421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8F7244F-938A-48EE-AC22-5B67A9555C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8F7244F-938A-48EE-AC22-5B67A9555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B2C7A11-FA52-4491-9453-0B34EFA87A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0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9BBB5CB-091A-4F66-BFE3-B13A0383616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10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4277022-1583-4A0A-B749-E22E371E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4277022-1583-4A0A-B749-E22E371E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ED892E4-31D2-4ED1-9594-2692F0896F5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E503991-E82B-4EAC-89AF-35351564ED11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93BFE18-95C4-41BC-9216-1C5E75F1C3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FA5657A6-A653-4B56-AD33-62D3E0A752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78D9E25-F8EA-45B8-B2F1-70672DFD24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3DF7C67-C06B-4624-A02F-5F213E7592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D71B7A7-EC27-455F-8AAC-69FC94687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55E3004F-E5D2-4D28-9BA8-E478EDABBA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57600D85-38EE-4A3B-92F2-57AB8B06F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94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0A61765-BBEC-4043-986A-9703C6995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0A61765-BBEC-4043-986A-9703C6995B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816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17F8B81-DC7B-46E0-9BF2-3947FC60CAD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109805" y="2679696"/>
            <a:ext cx="3972387" cy="14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FF47890-10AA-455D-8487-CE0407152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7317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FF47890-10AA-455D-8487-CE0407152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B8820CB2-8D1D-4BF7-91D3-51F8A0D580B5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8" name="No fly zone">
              <a:extLst>
                <a:ext uri="{FF2B5EF4-FFF2-40B4-BE49-F238E27FC236}">
                  <a16:creationId xmlns:a16="http://schemas.microsoft.com/office/drawing/2014/main" id="{95CA8A18-7F5F-4015-958A-ABDDEBC86888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4522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456434" y="616450"/>
                  </a:moveTo>
                  <a:lnTo>
                    <a:pt x="452201" y="6160597"/>
                  </a:lnTo>
                  <a:lnTo>
                    <a:pt x="11741917" y="6164830"/>
                  </a:lnTo>
                  <a:lnTo>
                    <a:pt x="11750383" y="620683"/>
                  </a:lnTo>
                  <a:lnTo>
                    <a:pt x="456434" y="61645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98696FE-D0AA-4150-BB06-965A434E2829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B0343D8-FE6B-4F3B-9982-D534BA5742F0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481E1C8D-8B06-4330-B135-D6E84CF21D47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71CD0B80-E503-406C-87F8-D8E955ECB43F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F2B8E50-9847-42B5-B0C1-746B272712EA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B3D4B9C0-93BB-4BFF-AE12-6CC867FBBAB4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81FAE4C9-71FF-4232-AE30-8E1E100C8FF1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51A83BA-A420-4BC3-ADAB-9BDCD86EE8F5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0C22445C-A516-4522-A906-013DE49A31AA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C9F4BE31-2440-4EA0-97B4-6939ED8E2130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F994087B-6A58-4FC6-851F-D2A5E9C18A03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8E65D2C7-DB0D-42F0-A586-F3EE0E2055E2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F011AA86-378D-4E12-94E7-71A0B46027E0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CDE72B99-7A34-49B5-B6EB-F09591DE3A3E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D7DC58B9-8F23-4573-A62D-454ABC21C85F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108FC817-A22F-4BD6-8905-BE45A15E0E1D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36DCAA91-CC58-4887-A068-2FC5C0A8A918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A01068D-5DF2-47F7-9062-2943D13AE6FE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CF6ED6AC-7A40-4FFF-AB50-3D003CF05AEC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82220EB6-9FDE-4AA8-AFE3-524A5DE0565A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78FB9386-C8B2-440B-9CC2-9A67615DA434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6C256BE-CDBD-4F70-924C-C76B9F7B7150}"/>
                </a:ext>
              </a:extLst>
            </p:cNvPr>
            <p:cNvGrpSpPr/>
            <p:nvPr userDrawn="1"/>
          </p:nvGrpSpPr>
          <p:grpSpPr>
            <a:xfrm>
              <a:off x="1120800" y="623550"/>
              <a:ext cx="9949900" cy="5537047"/>
              <a:chOff x="1120800" y="623550"/>
              <a:chExt cx="9949900" cy="5537047"/>
            </a:xfrm>
          </p:grpSpPr>
          <p:sp>
            <p:nvSpPr>
              <p:cNvPr id="112" name="Rectangle 34">
                <a:extLst>
                  <a:ext uri="{FF2B5EF4-FFF2-40B4-BE49-F238E27FC236}">
                    <a16:creationId xmlns:a16="http://schemas.microsoft.com/office/drawing/2014/main" id="{DB286683-C346-4DBD-94F5-29F606BA3E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794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3" name="Rectangle 35">
                <a:extLst>
                  <a:ext uri="{FF2B5EF4-FFF2-40B4-BE49-F238E27FC236}">
                    <a16:creationId xmlns:a16="http://schemas.microsoft.com/office/drawing/2014/main" id="{AF31E933-CB02-44A3-9381-0FBACB036E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2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4" name="Rectangle 36">
                <a:extLst>
                  <a:ext uri="{FF2B5EF4-FFF2-40B4-BE49-F238E27FC236}">
                    <a16:creationId xmlns:a16="http://schemas.microsoft.com/office/drawing/2014/main" id="{35B4E785-6E27-4F58-A735-6010E8F598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413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5" name="Rectangle 37">
                <a:extLst>
                  <a:ext uri="{FF2B5EF4-FFF2-40B4-BE49-F238E27FC236}">
                    <a16:creationId xmlns:a16="http://schemas.microsoft.com/office/drawing/2014/main" id="{64381DD6-6B86-4E5A-86EF-8278A24C14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651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6" name="Rectangle 38">
                <a:extLst>
                  <a:ext uri="{FF2B5EF4-FFF2-40B4-BE49-F238E27FC236}">
                    <a16:creationId xmlns:a16="http://schemas.microsoft.com/office/drawing/2014/main" id="{1DC1BCCC-F007-4EC4-B827-B2D903B62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827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7" name="Rectangle 39">
                <a:extLst>
                  <a:ext uri="{FF2B5EF4-FFF2-40B4-BE49-F238E27FC236}">
                    <a16:creationId xmlns:a16="http://schemas.microsoft.com/office/drawing/2014/main" id="{605C608A-250F-423F-9A2D-6E23615480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175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8" name="Rectangle 40">
                <a:extLst>
                  <a:ext uri="{FF2B5EF4-FFF2-40B4-BE49-F238E27FC236}">
                    <a16:creationId xmlns:a16="http://schemas.microsoft.com/office/drawing/2014/main" id="{FD901021-AE5E-4C3E-9B16-3A6770BE78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8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9" name="Rectangle 41">
                <a:extLst>
                  <a:ext uri="{FF2B5EF4-FFF2-40B4-BE49-F238E27FC236}">
                    <a16:creationId xmlns:a16="http://schemas.microsoft.com/office/drawing/2014/main" id="{DDE7A586-2E19-4030-A057-059378101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99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20" name="Rectangle 42">
                <a:extLst>
                  <a:ext uri="{FF2B5EF4-FFF2-40B4-BE49-F238E27FC236}">
                    <a16:creationId xmlns:a16="http://schemas.microsoft.com/office/drawing/2014/main" id="{8908823C-C358-4C66-8F92-B39E38D5B2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318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21" name="Rectangle 43">
                <a:extLst>
                  <a:ext uri="{FF2B5EF4-FFF2-40B4-BE49-F238E27FC236}">
                    <a16:creationId xmlns:a16="http://schemas.microsoft.com/office/drawing/2014/main" id="{037E61FA-B3AE-445B-BAA4-0E65224D04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37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22" name="Rectangle 44">
                <a:extLst>
                  <a:ext uri="{FF2B5EF4-FFF2-40B4-BE49-F238E27FC236}">
                    <a16:creationId xmlns:a16="http://schemas.microsoft.com/office/drawing/2014/main" id="{A76C520F-D124-404F-8D28-8CA0ED98D4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556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01" name="Slide edges">
              <a:extLst>
                <a:ext uri="{FF2B5EF4-FFF2-40B4-BE49-F238E27FC236}">
                  <a16:creationId xmlns:a16="http://schemas.microsoft.com/office/drawing/2014/main" id="{313F682B-77BB-47EB-AE98-BB97DD9A0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" name="Footnote measure">
              <a:extLst>
                <a:ext uri="{FF2B5EF4-FFF2-40B4-BE49-F238E27FC236}">
                  <a16:creationId xmlns:a16="http://schemas.microsoft.com/office/drawing/2014/main" id="{BE31AB1A-3CA3-4439-8D5A-EA65FD1E56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6159600"/>
              <a:ext cx="1129322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03" name="Whitespace measure">
              <a:extLst>
                <a:ext uri="{FF2B5EF4-FFF2-40B4-BE49-F238E27FC236}">
                  <a16:creationId xmlns:a16="http://schemas.microsoft.com/office/drawing/2014/main" id="{C4F360FE-DBDF-433B-B88E-CE13F49BCB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1497600"/>
              <a:ext cx="1129321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F97BA79-33C5-49EE-A762-BAB18932638F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7" name="Rectangle 5">
                <a:extLst>
                  <a:ext uri="{FF2B5EF4-FFF2-40B4-BE49-F238E27FC236}">
                    <a16:creationId xmlns:a16="http://schemas.microsoft.com/office/drawing/2014/main" id="{A50D549E-5E3E-4910-80D7-1AEAFA154E4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08" name="Rectangle 7">
                <a:extLst>
                  <a:ext uri="{FF2B5EF4-FFF2-40B4-BE49-F238E27FC236}">
                    <a16:creationId xmlns:a16="http://schemas.microsoft.com/office/drawing/2014/main" id="{703CE041-7BF3-46F1-9356-4687139CBFE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09" name="Rectangle 9">
                <a:extLst>
                  <a:ext uri="{FF2B5EF4-FFF2-40B4-BE49-F238E27FC236}">
                    <a16:creationId xmlns:a16="http://schemas.microsoft.com/office/drawing/2014/main" id="{F8AAF352-48E3-4942-8D29-B1EE8276CE5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0" name="Rectangle 11">
                <a:extLst>
                  <a:ext uri="{FF2B5EF4-FFF2-40B4-BE49-F238E27FC236}">
                    <a16:creationId xmlns:a16="http://schemas.microsoft.com/office/drawing/2014/main" id="{FEA9F6E1-1992-4801-9572-F2F69A5CC2A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11" name="Rectangle 13">
                <a:extLst>
                  <a:ext uri="{FF2B5EF4-FFF2-40B4-BE49-F238E27FC236}">
                    <a16:creationId xmlns:a16="http://schemas.microsoft.com/office/drawing/2014/main" id="{1A0F3355-52FE-43F7-B629-2B96440277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05" name="Live area">
              <a:extLst>
                <a:ext uri="{FF2B5EF4-FFF2-40B4-BE49-F238E27FC236}">
                  <a16:creationId xmlns:a16="http://schemas.microsoft.com/office/drawing/2014/main" id="{77695461-1A4E-45AE-AA49-86A909814216}"/>
                </a:ext>
              </a:extLst>
            </p:cNvPr>
            <p:cNvSpPr/>
            <p:nvPr userDrawn="1"/>
          </p:nvSpPr>
          <p:spPr>
            <a:xfrm>
              <a:off x="449139" y="2080801"/>
              <a:ext cx="11293221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6" name="Footnote example">
              <a:extLst>
                <a:ext uri="{FF2B5EF4-FFF2-40B4-BE49-F238E27FC236}">
                  <a16:creationId xmlns:a16="http://schemas.microsoft.com/office/drawing/2014/main" id="{165163C1-396F-45C1-8F88-3E2C4A208E1B}"/>
                </a:ext>
              </a:extLst>
            </p:cNvPr>
            <p:cNvSpPr txBox="1"/>
            <p:nvPr userDrawn="1"/>
          </p:nvSpPr>
          <p:spPr>
            <a:xfrm>
              <a:off x="715616" y="6144442"/>
              <a:ext cx="8945297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pic>
        <p:nvPicPr>
          <p:cNvPr id="93" name="Picture 92">
            <a:extLst>
              <a:ext uri="{FF2B5EF4-FFF2-40B4-BE49-F238E27FC236}">
                <a16:creationId xmlns:a16="http://schemas.microsoft.com/office/drawing/2014/main" id="{18AA1FD3-98EE-4FCE-AF96-4711215A16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19131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08F0C9-97E1-4F4C-94C2-0051C3787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08F0C9-97E1-4F4C-94C2-0051C3787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82A622-8704-4CB3-AC14-D1831BA240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 anchor="b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05DF0F-97ED-4448-BFE5-56833588B9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785F9F-3811-4B6A-BAE1-39C1EE31C6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139" y="971138"/>
            <a:ext cx="11293221" cy="2215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4165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6F6F5E-EFDE-43CE-8301-CCE84A7DF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6F6F5E-EFDE-43CE-8301-CCE84A7DF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2A03049-BB89-457D-B5E3-02DF3949C5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139" y="2085628"/>
            <a:ext cx="1129322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27A0B1-9FC9-429D-BA70-1D7E2E41A83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3721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CD98B9-AFB1-41E5-8C25-882DD7C9F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CD98B9-AFB1-41E5-8C25-882DD7C9F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9DF92-4E10-455E-B9F7-3F0C0934EF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49139" y="2158989"/>
            <a:ext cx="3924861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1227048"/>
            <a:ext cx="3924861" cy="664797"/>
          </a:xfrm>
        </p:spPr>
        <p:txBody>
          <a:bodyPr vert="horz" anchor="t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4372AE-E502-452C-A9AA-28C37C40C8E3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75F9E69-BCF9-4125-B0FB-1B079371EB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6481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DA26E9-7D99-4BFD-8D32-1FAFDD1D3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DA26E9-7D99-4BFD-8D32-1FAFDD1D3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58990A8-CE1D-4B76-9961-35DD04FF2E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50FF425-32EB-4D04-850C-A300F3541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3631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CC2CE4-2A52-41AA-A4EB-D085EA7B19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CC2CE4-2A52-41AA-A4EB-D085EA7B19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AF7412-BD40-4F04-89CE-414102A3C1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3826800"/>
            <a:ext cx="11293221" cy="2041200"/>
          </a:xfrm>
        </p:spPr>
        <p:txBody>
          <a:bodyPr vert="horz" anchor="t">
            <a:noAutofit/>
          </a:bodyPr>
          <a:lstStyle>
            <a:lvl1pPr>
              <a:defRPr sz="52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49139" y="3680016"/>
            <a:ext cx="1173944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B27A706-5426-4A34-9A91-19FBCDCB061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0398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427B00-8768-435F-A049-173BB16E64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427B00-8768-435F-A049-173BB16E64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15F996-3FB3-4603-B21F-4BA09FD322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07FA27-AB1C-4E74-89BC-63D06530EF3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801CB5-B608-48DC-9E2D-027FD3B6502A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A2C063B-A0CB-462E-92F1-99E8CDF14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44BFF4C-9D57-4C17-B228-5DC81BB6A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1A079E9-03C9-4AAE-8ACF-AF450C8C2B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265F022D-DD97-4B41-A122-390134FCED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0EEDAE20-048D-4130-BB38-DEF89DA1F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580DD08D-81DB-4B09-A962-9CE0E5A874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0EDD5268-2C9C-4FC8-A0AC-FF424CB489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731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Break - Numbered - Photograph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1EE7-20EB-4F06-9374-A72964202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1EE7-20EB-4F06-9374-A7296420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D3C4026-2ABD-434F-A4A0-F9AC231EDB9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96" y="0"/>
            <a:ext cx="12179808" cy="6858000"/>
          </a:xfrm>
          <a:prstGeom prst="rect">
            <a:avLst/>
          </a:prstGeom>
        </p:spPr>
      </p:pic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19941D-EDDA-4AE8-A99F-01702D423D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3693D0-4DFD-49B7-8129-FCFBEB2530B8}"/>
              </a:ext>
            </a:extLst>
          </p:cNvPr>
          <p:cNvSpPr/>
          <p:nvPr userDrawn="1"/>
        </p:nvSpPr>
        <p:spPr>
          <a:xfrm rot="5400000">
            <a:off x="2667002" y="-2667972"/>
            <a:ext cx="6858000" cy="12193945"/>
          </a:xfrm>
          <a:prstGeom prst="rect">
            <a:avLst/>
          </a:prstGeom>
          <a:gradFill flip="none" rotWithShape="1">
            <a:gsLst>
              <a:gs pos="41000">
                <a:srgbClr val="000000">
                  <a:alpha val="0"/>
                </a:srgbClr>
              </a:gs>
              <a:gs pos="100000">
                <a:srgbClr val="000000">
                  <a:alpha val="50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874A47-AB9F-6C4B-9D40-9C8E2B364F0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B9AE7A7-9126-144F-9AB2-38E2CCDBC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40" y="1445333"/>
            <a:ext cx="5646861" cy="1674304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ection title in Arial Bold 48p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2E362FD-5AEF-CB48-ABC2-064F1F3C44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139" y="361603"/>
            <a:ext cx="1415671" cy="1083731"/>
          </a:xfrm>
        </p:spPr>
        <p:txBody>
          <a:bodyPr anchor="t" anchorCtr="0">
            <a:noAutofit/>
          </a:bodyPr>
          <a:lstStyle>
            <a:lvl1pPr marL="0" indent="0">
              <a:buNone/>
              <a:defRPr sz="6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XX.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D7647F-DB9A-AF42-9F70-B4737D9827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40" y="3300974"/>
            <a:ext cx="5646861" cy="1146495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sz="1867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ubhead (optional) in Arial Regular 14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64AAC8-EE7D-4EA6-AB3F-7FFBD8ABDDB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86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3F2968-BD05-4E3E-A29B-1AE3B1D052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03F2968-BD05-4E3E-A29B-1AE3B1D05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8A10CC-0F0E-41C6-973F-982C9A1796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57391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1D5358-3EDA-4450-B8E0-AC29E41AACF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C74E3ED-53E3-4787-90D0-DAC7132EA0F6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1572ED17-DD4D-466F-B780-D0529F2FEB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F4267A01-EEBC-41C1-9C74-5D8FFA5A54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4B5BCD9C-814D-4D26-A66C-FD328F9DE4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24604737-DC75-4923-AED9-C56659F2E7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63ED470-4398-41A6-858B-840EAB6FD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5C53A84E-3FD1-426D-A907-1D951125D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B59B5B99-F5A2-48DC-98EB-7503E0B535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222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282445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555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E46904-CD42-42EB-B0AE-14768199F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7E46904-CD42-42EB-B0AE-14768199F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4C7B33-EB6D-4DDB-B3B6-35B4E64BA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681103"/>
            <a:ext cx="3308743" cy="149579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6F2845-99EF-49D4-8941-D2986E6F885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96815F-4558-48C2-890C-1D02F0A493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1159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C77A24-7499-4215-AC39-58B3320A4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C77A24-7499-4215-AC39-58B3320A4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CA2068-0448-47BF-9D2F-C98DC34E71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49139" y="1785600"/>
            <a:ext cx="4569261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880EE9-FDD5-409D-A7A2-9F7D6B86923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1EBBA0F-4B54-4FBE-BCC5-114BDB2A142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45499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356DE6-16FC-4B0A-92F8-7F991592A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356DE6-16FC-4B0A-92F8-7F991592AB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F194A7-EE95-4593-8437-78388CD237C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49139" y="1785600"/>
            <a:ext cx="642934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53F5D0E-6E15-4BEA-850C-4829CF401C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86E071E-1771-4F3C-B424-CF3A31E41F2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3530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2 colum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A7B9F3C-31CE-43F1-9BE0-402B4D408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A7B9F3C-31CE-43F1-9BE0-402B4D408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4379A984-322D-4828-AB7E-2B0C11C1B8EB}"/>
              </a:ext>
            </a:extLst>
          </p:cNvPr>
          <p:cNvSpPr/>
          <p:nvPr userDrawn="1"/>
        </p:nvSpPr>
        <p:spPr bwMode="white">
          <a:xfrm>
            <a:off x="1" y="0"/>
            <a:ext cx="609599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B76949-2C63-4C1A-B3CF-0BB5BCEC27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594613"/>
            <a:ext cx="5260545" cy="332399"/>
          </a:xfrm>
        </p:spPr>
        <p:txBody>
          <a:bodyPr vert="horz">
            <a:spAutoFit/>
          </a:bodyPr>
          <a:lstStyle>
            <a:lvl1pPr>
              <a:defRPr sz="2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C95AE-03E3-4482-830C-40BF988588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Name or Footer Copy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883D20-4C3E-40A3-B39F-B861CF771BD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5400000" scaled="1"/>
            <a:tileRect/>
          </a:gra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FD2F4A-8D2D-4F60-9C01-DDEB3887CB5A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4D14E59-5842-47DE-9A9E-EF0EDC6491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39" y="2775970"/>
            <a:ext cx="2338418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3611BE-1B2A-45CC-9B02-B197355D6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71266" y="2775970"/>
            <a:ext cx="2338418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54B336-8FCE-4EAE-901A-132E2C012E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39" y="1830835"/>
            <a:ext cx="2338418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3A07336-F7A2-40C7-ACDF-AA227594E0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71266" y="1830835"/>
            <a:ext cx="2338418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D1748D-80C5-49BF-932E-560AAA44DF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095999" y="0"/>
            <a:ext cx="416951" cy="685800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614B57B-712B-4578-88B9-BC3E558087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2ECCEFA4-FD93-4CE5-94F2-37DE5C435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A00664A-EBEB-42EC-8979-BF6A08935B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D859121E-039C-4391-B4B2-C23649B3B0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01D63C8-2EFB-4096-95B6-9B0F5A292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4854C5A6-A75E-4556-A3F8-2CB5D556A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996AF31C-3839-47A0-ABCE-8B0A15CD16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6C84500-54A4-4E12-8648-45B39AA0A1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759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_3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A8437E-9735-479F-8806-5B99FBD28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A8437E-9735-479F-8806-5B99FBD28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1CA9813-1342-4CCD-B096-469B7899B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766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8708AF-1867-4A68-8308-1DBCA057E0B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48D305-3D1D-4AF0-8490-6BE3EF32A0A8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E120E5F-FD30-4910-B568-F0BD83B6F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0B84FA84-9D43-4639-8F48-BC09CA14AB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2DB584-3BF3-447E-B2E0-E4324035DE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B43680F-C1F2-45BD-81F4-58CC49825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1A1A726-C9E9-435C-98E4-232F42FD0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AFBB378C-C795-4B2A-B9CB-6998338AD0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1AF859A2-1DBF-4EDF-86FC-CF4223DC8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329C90D2-1465-417B-AC43-6891A356EA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D8EB4D62-84F6-4F04-AA1F-DFC3751964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475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2774336-2915-40A0-A086-B47492E6EB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6292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C4413B72-6692-4528-A1B1-A6916915FF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9A574BE4-4F3B-4F56-9317-4139B6980A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475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A4E522CA-FEFA-4159-9A9B-9FD244AA8D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46292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57875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_4 colum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CA7767-0BEA-450E-B9F2-5202062DE2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CA7767-0BEA-450E-B9F2-5202062DE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EC3C7E-73E3-4113-BCC7-7A1F1D53BA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03EF61E-6D63-4F43-89EB-B25D00A45D58}"/>
              </a:ext>
            </a:extLst>
          </p:cNvPr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644461-AD62-48C2-89BA-5DAD8592F440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00F8BE7-99EB-4763-8032-9ABB56BD7FD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4D3C3D9-3400-495C-B47D-5AEDB66E4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BB7BC9A5-7CB1-43B1-9826-F3FAF31B97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7CEE7F8B-8443-4663-862C-2CCFB44545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B0406BC-5E77-492A-A347-31DE6E82C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EC74BC97-681E-4943-9AB8-6E60AB1B72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000A2A85-29C4-4BDF-A06D-97DC2C725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2C2A9D7-3F9A-4FD4-9659-4E46A7A4B6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8168182" cy="332399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sz="2400"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3D32DA8-A50F-40FF-8BC8-36E84B8CFC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139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E21AD60-3B7F-4362-821A-D6C90055D2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58772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276CA73A-FABE-4866-B4E4-55F29135E5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68405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E1680509-63ED-4841-815A-770CB888CD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139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B027B1A-1CC6-4BFF-8141-5D611B7846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8772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1732049-8411-41A8-AC6A-D4C57862538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68405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7791F4CA-6502-4599-8260-5989ECA908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78037" y="2775970"/>
            <a:ext cx="1839284" cy="3133667"/>
          </a:xfrm>
        </p:spPr>
        <p:txBody>
          <a:bodyPr anchor="t"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C5F8E2E-398A-441B-A2C6-42ECF3A1B1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8037" y="1830835"/>
            <a:ext cx="1839284" cy="817310"/>
          </a:xfrm>
        </p:spPr>
        <p:txBody>
          <a:bodyPr anchor="b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76112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14E36BC-50F7-4C41-901A-54AE82934C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886EE47-0322-4FAE-A81C-2095D3FE504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19FD74B-D745-4D06-914E-5539317FCD5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D44573C-7CF6-44FD-9BA1-74296D2C9F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D19C9639-99C7-4AE7-8E2E-57D2722FDC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57039A2-37F2-4372-82CD-603BE82FA8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ED89773-8AE7-4181-8185-676704D1F7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32E4FF5-87ED-4B97-A3AB-089654D734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D212C856-55FE-4CEE-BD80-0BFB21B9F0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D6951DF-888A-4103-97DD-050589A252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30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9525CC-313A-4C51-AB1D-3517279A6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9525CC-313A-4C51-AB1D-3517279A6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169892-768D-4F27-9ADF-2A55E1CD72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9139" y="2764205"/>
            <a:ext cx="2659500" cy="1314311"/>
          </a:xfrm>
        </p:spPr>
        <p:txBody>
          <a:bodyPr vert="horz" anchor="ctr" anchorCtr="0">
            <a:noAutofit/>
          </a:bodyPr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D1CEFCD-A9B1-461A-866A-11EEBDE63A9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1993C2F-2D74-4A8E-AADE-EFADC6E392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698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3FE94C-7356-47B5-A962-C16295D967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3FE94C-7356-47B5-A962-C16295D967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1E3AC3-7E6A-49F3-A4B2-46737BA735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2390364E-E6A7-974F-9BCB-3ED538EA0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40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in Arial Bold 48p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DEEDEB-AE9B-1E46-899A-18FBE56CF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201" y="6206208"/>
            <a:ext cx="1109132" cy="418427"/>
          </a:xfrm>
          <a:prstGeom prst="rect">
            <a:avLst/>
          </a:prstGeom>
          <a:noFill/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C65CE5BC-A73D-496C-B2F9-F34423CF75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238335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head | Presentation Date (Month Year)</a:t>
            </a:r>
          </a:p>
        </p:txBody>
      </p:sp>
    </p:spTree>
    <p:extLst>
      <p:ext uri="{BB962C8B-B14F-4D97-AF65-F5344CB8AC3E}">
        <p14:creationId xmlns:p14="http://schemas.microsoft.com/office/powerpoint/2010/main" val="3153260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E5DDD5-0D7B-4FA4-90C0-2ED2C89E9B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E5DDD5-0D7B-4FA4-90C0-2ED2C89E9B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4353DB-C5E2-4B39-8EDA-88EBE0A09B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8AD68E9-69F2-4891-A8DE-3CDFAADA85F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F1B7A24-F64F-482D-A90B-098B5C79B78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10B2D92D-90A9-4F0C-A4E6-962EF7BC4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ACAE8E7B-863D-4286-89EB-2C0D8B45A4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737CCD02-04E1-4C0D-B0C4-CCA4EC5BD0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8639B39F-BFBF-4DAE-9832-3076FEA10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9FCB4451-B1F7-4A41-928C-67084A531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ED4F78A4-05A6-4B01-A70C-9BB4D9EDA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416A2948-C6DB-4B99-BE30-12E6B5A4A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932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AF9688-CE1F-4ACF-80C2-F31FA5389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AF9688-CE1F-4ACF-80C2-F31FA53898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19BDDA-2FFE-4A54-9986-11CB2621E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49140" y="1785600"/>
            <a:ext cx="4243097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4537A8-3815-4632-9AB2-621EBFB7A31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7082392-7F32-4056-9DC7-40CF6F10D7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4716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7F9DC39-1D98-49C1-9F12-697B42480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7F9DC39-1D98-49C1-9F12-697B424808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F0690D-6FE2-4E32-9ECB-0A6CE6517A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928684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B5025DC-758C-4949-9581-F86903FC7CF5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7C59329-1C02-469D-95DF-6B17FA4AAED2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5F950BC3-DBA0-46A3-963B-C118652CD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8284404-09A6-45B3-A6CF-C187ACDA14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BD0B81A-DAD5-4358-BF93-A2D52EF9DB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1B556718-300E-4491-8F3F-819269B630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08380AF4-35DD-4FB1-8DC2-AB23275E6E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125B1CB3-B936-4E27-ADF4-0B206E711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F5CDD0A5-85D0-4F7D-A75F-04D4517EA2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07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B2A381-675F-439B-BF4F-7BCA430CC2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B2A381-675F-439B-BF4F-7BCA430CC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5BCADB-5271-4DA8-80E9-DB47CE914E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4928684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ABBEE7D-88EE-4774-8C5F-BCAE5BACD65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1BE4CD9-A659-449E-98F4-EB03B9066F4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531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42253C-690B-4BBD-A020-5AC3D2903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42253C-690B-4BBD-A020-5AC3D2903C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322FB9-0009-48E5-817F-28560FBD415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5357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E085554-2402-4861-ABB4-AAB9CD540C52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647A61A-4F08-4289-A3FA-7039C0B4141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D537794-D7C8-47BD-88EB-BA9C160039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7DECA7C-50CB-465F-BA9A-CB13825C13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ECDA1A8-63EB-4C96-A130-6DEEFE8914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ABD187FB-6BD3-41DB-AFDD-D995FB3D8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C6E7CC0-5EC6-417E-9B12-D63E2D9EBD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F0A460A8-5F23-4BB6-9967-37F975F0B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3C2A9312-3A51-4AC1-97AB-DA3D6DA190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485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8991A9-FA45-4B99-9457-1E54F761C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8991A9-FA45-4B99-9457-1E54F761C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81E2F14-B989-4442-BB5E-E738BF710C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6435357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3A380E9-E869-4CAA-8B1C-BBDE05C23F2C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368A003-A970-405C-BE43-BDD5617A82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665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101060-65E4-4AEE-9CFA-5D29B5284B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101060-65E4-4AEE-9CFA-5D29B5284B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B412C8-792D-44F7-91BA-7179E11F22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D95D0B-15F5-465D-B9CD-CD4949A3593D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7D747EB-448B-4C3C-8A24-9B97DD0E764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FBA43D47-9253-4189-AADD-A6104E3922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67FDC577-B7E8-4FE2-B89D-C670EB3161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9E61D4D-7CD4-45AF-A02B-14C40481DC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C6149C1C-CAFF-4B7B-A496-9DACF0E090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C517B4CD-D977-43DF-B060-1747DEF1D3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5B4DD085-048D-40B6-8A50-F1A65DDED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BC8A2628-E020-4636-BDC6-973893A2D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512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82C8B-4F35-4E08-B50A-F976BB9414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82C8B-4F35-4E08-B50A-F976BB941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93394B-1654-4682-8559-75C1F17BFF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49139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3826334"/>
            <a:ext cx="11293221" cy="160655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200" b="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2B2BB69-983D-41BB-9BB9-E8C68E9CC5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523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1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BECE18-6A40-4CB1-9C83-07D5BF095907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EC848E5-2122-4D5E-88E0-66036AE1F00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381A3C5-09AC-4A21-A1C0-D12BA6C443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174E7E1-6F6B-4C20-9AAE-6FECD452E1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A03FFE0E-35B9-4457-8F0E-50214A539F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46071CB7-384E-42BF-8C50-B2E59DF848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BFD25ADF-BBE5-4CCC-B63B-F586BC0DBE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E5A2711-AEED-477B-BFDB-F5D31EE522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F193FD72-2AD5-41E8-AA4D-CC780D688D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095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4E8BAE2-05BD-4AFD-BA8D-B86680FB4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4E8BAE2-05BD-4AFD-BA8D-B86680FB4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7A193BF-D6CA-4338-A682-7E81E9199B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139" y="594615"/>
            <a:ext cx="11293221" cy="332399"/>
          </a:xfrm>
        </p:spPr>
        <p:txBody>
          <a:bodyPr vert="horz"/>
          <a:lstStyle>
            <a:lvl1pPr>
              <a:defRPr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6EB521-E8BA-4780-A2BF-01585B00EFC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B134D3-B79C-40D0-860D-55C05D35E6E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A94AC37-8EDC-4F94-AC5D-0BDFB848E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93F8794-3A56-4849-BB93-3BF9FD1E5B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7C9937F8-72AF-4289-8563-D5AC1EC179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EF3C31E-3419-4749-B62A-DC73BE1EAE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B0BDE76B-DC93-41A6-B965-01394300B6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67D15579-4309-4708-BB3A-F32BB0FB40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B1483C54-B3FE-478B-9A4F-D89BC4903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523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D831C2-3CA3-451C-8AEC-CDFC3BCC5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D831C2-3CA3-451C-8AEC-CDFC3BCC5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3642AB-6F97-475E-B6BB-1C4039B0B4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065226-BBE4-4943-81FB-7397341A23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7201" y="6206209"/>
            <a:ext cx="1109132" cy="418428"/>
          </a:xfrm>
          <a:prstGeom prst="rect">
            <a:avLst/>
          </a:prstGeom>
          <a:noFill/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3C0EF8C1-A42E-1648-BE4D-DBD865A62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139" y="1688740"/>
            <a:ext cx="5791200" cy="2511457"/>
          </a:xfrm>
        </p:spPr>
        <p:txBody>
          <a:bodyPr vert="horz"/>
          <a:lstStyle>
            <a:lvl1pPr>
              <a:lnSpc>
                <a:spcPct val="85000"/>
              </a:lnSpc>
              <a:defRPr sz="6400" b="1" spc="-133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esentation Title in Arial Bold 48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5AABEB-5EBC-4E01-803E-28ABD4F681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1987" y="4238335"/>
            <a:ext cx="5788352" cy="291448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0" i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head | Presentation Date (Month Year)</a:t>
            </a:r>
          </a:p>
        </p:txBody>
      </p:sp>
    </p:spTree>
    <p:extLst>
      <p:ext uri="{BB962C8B-B14F-4D97-AF65-F5344CB8AC3E}">
        <p14:creationId xmlns:p14="http://schemas.microsoft.com/office/powerpoint/2010/main" val="3845907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A6D33D-F532-4AF1-A923-672EA0525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A6D33D-F532-4AF1-A923-672EA0525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49139" y="2619807"/>
            <a:ext cx="3000261" cy="167802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2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61CF389-64A3-4651-A828-310DD372621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F16E14-6AA5-47D4-94AC-A6AB6420B64D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8C67103-37A2-45B3-8B2B-4E6BD419D4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A0BB66C-8A0E-4D36-B6DE-11C3B219945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416B521E-A2C0-4F27-907D-7DF0F5B0B8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4124F0F5-710B-4799-86F1-0A3173EE0D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A1BF68AE-C98B-4F1C-8738-692AC9DA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6DD1827E-9FB7-4ADE-A2D5-17E9CD783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7A6C6969-3E21-49A4-8368-64FA42B999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629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AC2AC3E-1CFA-4145-9B7B-4221A7BD51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AC2AC3E-1CFA-4145-9B7B-4221A7BD51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2B7E19D-DEC5-4A22-B901-80B1C1D5F7EE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3CF9AA9-9E85-414D-A7E1-ADBC450146E5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32550AE2-2BF4-4243-853C-B99584CF55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F3098171-7DC2-4C70-A8A4-2907C59928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501159B-78C2-43FA-A80E-B50EE283DD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A855D5F1-B3A8-4D7B-AB31-DD0CB703D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09806225-DD75-4D7F-B576-B0F271538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581D251-3970-43CE-9CF6-1DA8AABE9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F362A5D1-DECB-484A-9D03-832E92C2ED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528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229D0C-90B2-4330-93E4-6068B1644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229D0C-90B2-4330-93E4-6068B1644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9EACE2A-13F1-474C-B4DC-4841494460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3267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769A100-187A-467C-AC3D-BC5C39C43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769A100-187A-467C-AC3D-BC5C39C43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266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EE0FA87-B0E4-4778-BFA2-9D5E0C524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109805" y="2679696"/>
            <a:ext cx="3972387" cy="14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95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2FA8D2-40E2-48DD-8E99-A98EB6CBB9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63" progId="TCLayout.ActiveDocument.1">
                  <p:embed/>
                </p:oleObj>
              </mc:Choice>
              <mc:Fallback>
                <p:oleObj name="think-cell Slide" r:id="rId3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2FA8D2-40E2-48DD-8E99-A98EB6CBB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Picture 51">
            <a:extLst>
              <a:ext uri="{FF2B5EF4-FFF2-40B4-BE49-F238E27FC236}">
                <a16:creationId xmlns:a16="http://schemas.microsoft.com/office/drawing/2014/main" id="{39A21984-5511-468D-8220-6AAA5195357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254187E7-329A-4E8D-AB7D-9C390815D7AC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9BD90405-B8E7-45D1-B93D-371E04450CB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6300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  <a:gd name="connsiteX0" fmla="*/ 456434 w 12193200"/>
                <a:gd name="connsiteY0" fmla="*/ 616450 h 6858000"/>
                <a:gd name="connsiteX1" fmla="*/ 452201 w 12193200"/>
                <a:gd name="connsiteY1" fmla="*/ 6160597 h 6858000"/>
                <a:gd name="connsiteX2" fmla="*/ 11741917 w 12193200"/>
                <a:gd name="connsiteY2" fmla="*/ 6164830 h 6858000"/>
                <a:gd name="connsiteX3" fmla="*/ 11750383 w 12193200"/>
                <a:gd name="connsiteY3" fmla="*/ 620683 h 6858000"/>
                <a:gd name="connsiteX4" fmla="*/ 456434 w 12193200"/>
                <a:gd name="connsiteY4" fmla="*/ 616450 h 6858000"/>
                <a:gd name="connsiteX5" fmla="*/ 0 w 12193200"/>
                <a:gd name="connsiteY5" fmla="*/ 0 h 6858000"/>
                <a:gd name="connsiteX6" fmla="*/ 12193200 w 12193200"/>
                <a:gd name="connsiteY6" fmla="*/ 0 h 6858000"/>
                <a:gd name="connsiteX7" fmla="*/ 12193200 w 12193200"/>
                <a:gd name="connsiteY7" fmla="*/ 622800 h 6858000"/>
                <a:gd name="connsiteX8" fmla="*/ 12192000 w 12193200"/>
                <a:gd name="connsiteY8" fmla="*/ 622800 h 6858000"/>
                <a:gd name="connsiteX9" fmla="*/ 12192000 w 12193200"/>
                <a:gd name="connsiteY9" fmla="*/ 6160597 h 6858000"/>
                <a:gd name="connsiteX10" fmla="*/ 12193200 w 12193200"/>
                <a:gd name="connsiteY10" fmla="*/ 6160597 h 6858000"/>
                <a:gd name="connsiteX11" fmla="*/ 12193200 w 12193200"/>
                <a:gd name="connsiteY11" fmla="*/ 6858000 h 6858000"/>
                <a:gd name="connsiteX12" fmla="*/ 12192000 w 12193200"/>
                <a:gd name="connsiteY12" fmla="*/ 6858000 h 6858000"/>
                <a:gd name="connsiteX13" fmla="*/ 11562000 w 12193200"/>
                <a:gd name="connsiteY13" fmla="*/ 6858000 h 6858000"/>
                <a:gd name="connsiteX14" fmla="*/ 630001 w 12193200"/>
                <a:gd name="connsiteY14" fmla="*/ 6858000 h 6858000"/>
                <a:gd name="connsiteX15" fmla="*/ 1 w 12193200"/>
                <a:gd name="connsiteY15" fmla="*/ 6858000 h 6858000"/>
                <a:gd name="connsiteX16" fmla="*/ 1 w 12193200"/>
                <a:gd name="connsiteY16" fmla="*/ 6160597 h 6858000"/>
                <a:gd name="connsiteX17" fmla="*/ 1 w 12193200"/>
                <a:gd name="connsiteY17" fmla="*/ 622800 h 6858000"/>
                <a:gd name="connsiteX18" fmla="*/ 0 w 12193200"/>
                <a:gd name="connsiteY18" fmla="*/ 622800 h 6858000"/>
                <a:gd name="connsiteX19" fmla="*/ 0 w 12193200"/>
                <a:gd name="connsiteY19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3200" h="6858000">
                  <a:moveTo>
                    <a:pt x="456434" y="616450"/>
                  </a:moveTo>
                  <a:lnTo>
                    <a:pt x="452201" y="6160597"/>
                  </a:lnTo>
                  <a:lnTo>
                    <a:pt x="11741917" y="6164830"/>
                  </a:lnTo>
                  <a:lnTo>
                    <a:pt x="11750383" y="620683"/>
                  </a:lnTo>
                  <a:lnTo>
                    <a:pt x="456434" y="61645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93784F8-1920-4DB2-B7C4-BEF8CDFFF473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5E1B5C20-5749-4502-BBE9-4EF49E5ADB3F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3E0F5B6B-34A5-421C-B57F-74FC1F7A8823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AA8E75B9-FB7F-4965-81BF-C723FD9DC35D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517A49E5-FEBB-4C47-B66B-303FA58C888A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556F3B7-D37D-4D74-BE7E-4656AB7A6CBE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1A405AAD-5CED-4BE3-9055-4F060D384ADF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74D0456F-DFA3-4489-958C-84B9B40213B2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7F1570E-3C7A-4796-B5B1-F0008B0F614F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39BD8A77-ED0C-467A-9312-CC8546C35E43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A4AC6CB5-4C7D-4A07-AD60-05D924CB9E71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1DF25DDC-9ABF-4731-A5BE-9C128C669E50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D04DE79-C384-4DB5-8554-6150B2C52A77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11990815-BC1F-4228-AD1A-46E0AE760E6C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A4BE1F68-AB8E-439C-898B-F4BFCBC126E6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31BE9112-E50D-41AC-91F7-6A12EAFC47D9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009E268E-81C2-423A-972F-AE960F5B8151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4E083260-0083-4D52-83C1-318C4F668E6A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A447C6E1-942F-4E07-BEAD-310F0A02D4E3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517B856A-5A20-406C-A9F8-45CC74BF4CDE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121E4F2-689B-43CB-91AE-41AED017A067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85219582-634B-45FD-B36B-7D8404C9BBB7}"/>
                </a:ext>
              </a:extLst>
            </p:cNvPr>
            <p:cNvGrpSpPr/>
            <p:nvPr userDrawn="1"/>
          </p:nvGrpSpPr>
          <p:grpSpPr>
            <a:xfrm>
              <a:off x="1120800" y="623550"/>
              <a:ext cx="9949900" cy="5537047"/>
              <a:chOff x="1120800" y="623550"/>
              <a:chExt cx="99499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BB58DF7B-0BC1-4C7A-A3D8-01ADFC0A2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794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FB34AD72-E534-483B-A453-B48AECCA2D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32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0E1D3E7C-E9CA-46C5-9D26-4B94CF232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413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1377AF66-BDE7-4885-8879-2D083581C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651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D7B49B4A-570C-418B-BF38-8FD26D9B75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827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4E3FE106-C18F-451B-8B74-297BB5786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175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6062A50C-7492-4442-9C57-C415E28B23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8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BFA16F32-DF65-4B4A-9E72-3B79FE5BC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99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3B3C0BF1-6C48-4523-B247-43EBA0683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318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790F10C2-EE69-4496-908D-C6C9AEB5E8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937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83C8EFD9-3985-4EB5-B7E5-20774B11E0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556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5" name="Slide edges">
              <a:extLst>
                <a:ext uri="{FF2B5EF4-FFF2-40B4-BE49-F238E27FC236}">
                  <a16:creationId xmlns:a16="http://schemas.microsoft.com/office/drawing/2014/main" id="{AB9D0577-66BF-4A8D-8CCE-9AB5B8C0F1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Footnote measure">
              <a:extLst>
                <a:ext uri="{FF2B5EF4-FFF2-40B4-BE49-F238E27FC236}">
                  <a16:creationId xmlns:a16="http://schemas.microsoft.com/office/drawing/2014/main" id="{28340F86-7EEF-403C-8593-345D4DDD61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6159600"/>
              <a:ext cx="1129322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DEDCB0E9-612C-492C-9FA3-842C3F1221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9139" y="1497600"/>
              <a:ext cx="1129321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A67C0298-9193-4BEC-B11C-D6909983FA49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3DB1FE94-5BA5-4A7E-B6CF-192EEBEC58C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8457B91C-8ACE-42A9-BB16-28627DB509C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3461E79F-295B-4F85-B92F-2B8DA7B564A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D6DCC5DD-56AE-41E3-B6F3-D3B33877431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F216A0C9-67EF-4569-AA9A-CF398E83154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>
              <a:extLst>
                <a:ext uri="{FF2B5EF4-FFF2-40B4-BE49-F238E27FC236}">
                  <a16:creationId xmlns:a16="http://schemas.microsoft.com/office/drawing/2014/main" id="{E74BD54F-0069-45CD-89EA-129A4FE321AA}"/>
                </a:ext>
              </a:extLst>
            </p:cNvPr>
            <p:cNvSpPr/>
            <p:nvPr userDrawn="1"/>
          </p:nvSpPr>
          <p:spPr>
            <a:xfrm>
              <a:off x="449139" y="2080801"/>
              <a:ext cx="11293221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>
              <a:extLst>
                <a:ext uri="{FF2B5EF4-FFF2-40B4-BE49-F238E27FC236}">
                  <a16:creationId xmlns:a16="http://schemas.microsoft.com/office/drawing/2014/main" id="{EC63068E-D2D5-4199-8CEE-16017A1986D1}"/>
                </a:ext>
              </a:extLst>
            </p:cNvPr>
            <p:cNvSpPr txBox="1"/>
            <p:nvPr userDrawn="1"/>
          </p:nvSpPr>
          <p:spPr>
            <a:xfrm>
              <a:off x="715616" y="6144442"/>
              <a:ext cx="8945297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641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503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07359" y="1115416"/>
            <a:ext cx="2693366" cy="87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333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34C2CF-D9AB-4DFF-B44F-F8CC4CD78D34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BFDF3AF-0C3A-4087-A3DC-F0B883FF3BEE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A809A96-EFBA-487D-B8FE-78DAF3A467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3F7F5B49-D4CE-49E6-98BC-7A9719C9224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5879910-94E1-48AE-A337-67B5105CAC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A9FCC596-AAF4-42EC-B760-B3108ECA8B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C9B68BF-67A5-4259-8376-2EFEBDFC8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09D7DC8-0136-4F0A-AA3A-A8929BD5B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3A0F5392-8176-4199-AFDF-7515A1E77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245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47209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D5C24A-C708-46E8-A6CD-D5DC598E511B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3A10869-F9FF-4402-A480-F938E6F0F92F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FE08676-B571-45A2-94DA-097A283C3A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BB8D0DA-741E-4324-AE67-344DF9A093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81640-AF31-4399-B972-519012FCBA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3BD8A1A-F46A-41E8-A7DF-59B44E798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5AB69F3-D794-4C27-B519-1C5E1D1E39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2B93F6D-4861-47DF-8236-1F74F7BC68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24C8C8CC-D436-421C-ADBC-44D9102460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673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1" y="622800"/>
            <a:ext cx="7189999" cy="480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E34060C-1A3F-4736-8B58-C371ABB5F6B8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8E56FA-94AD-42FB-AADC-792C5733CA14}"/>
              </a:ext>
            </a:extLst>
          </p:cNvPr>
          <p:cNvGrpSpPr/>
          <p:nvPr userDrawn="1"/>
        </p:nvGrpSpPr>
        <p:grpSpPr>
          <a:xfrm>
            <a:off x="10993967" y="6320367"/>
            <a:ext cx="948268" cy="357717"/>
            <a:chOff x="8245475" y="4740275"/>
            <a:chExt cx="711201" cy="2682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729FF25-3258-49F9-924B-72C9FC025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5475" y="4802188"/>
              <a:ext cx="303213" cy="206375"/>
            </a:xfrm>
            <a:custGeom>
              <a:avLst/>
              <a:gdLst>
                <a:gd name="T0" fmla="*/ 251 w 266"/>
                <a:gd name="T1" fmla="*/ 120 h 181"/>
                <a:gd name="T2" fmla="*/ 266 w 266"/>
                <a:gd name="T3" fmla="*/ 141 h 181"/>
                <a:gd name="T4" fmla="*/ 172 w 266"/>
                <a:gd name="T5" fmla="*/ 181 h 181"/>
                <a:gd name="T6" fmla="*/ 25 w 266"/>
                <a:gd name="T7" fmla="*/ 128 h 181"/>
                <a:gd name="T8" fmla="*/ 4 w 266"/>
                <a:gd name="T9" fmla="*/ 128 h 181"/>
                <a:gd name="T10" fmla="*/ 0 w 266"/>
                <a:gd name="T11" fmla="*/ 107 h 181"/>
                <a:gd name="T12" fmla="*/ 80 w 266"/>
                <a:gd name="T13" fmla="*/ 25 h 181"/>
                <a:gd name="T14" fmla="*/ 18 w 266"/>
                <a:gd name="T15" fmla="*/ 25 h 181"/>
                <a:gd name="T16" fmla="*/ 23 w 266"/>
                <a:gd name="T17" fmla="*/ 0 h 181"/>
                <a:gd name="T18" fmla="*/ 125 w 266"/>
                <a:gd name="T19" fmla="*/ 0 h 181"/>
                <a:gd name="T20" fmla="*/ 121 w 266"/>
                <a:gd name="T21" fmla="*/ 23 h 181"/>
                <a:gd name="T22" fmla="*/ 43 w 266"/>
                <a:gd name="T23" fmla="*/ 102 h 181"/>
                <a:gd name="T24" fmla="*/ 176 w 266"/>
                <a:gd name="T25" fmla="*/ 156 h 181"/>
                <a:gd name="T26" fmla="*/ 251 w 266"/>
                <a:gd name="T27" fmla="*/ 12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1">
                  <a:moveTo>
                    <a:pt x="251" y="120"/>
                  </a:moveTo>
                  <a:cubicBezTo>
                    <a:pt x="266" y="141"/>
                    <a:pt x="266" y="141"/>
                    <a:pt x="266" y="141"/>
                  </a:cubicBezTo>
                  <a:cubicBezTo>
                    <a:pt x="256" y="150"/>
                    <a:pt x="222" y="181"/>
                    <a:pt x="172" y="181"/>
                  </a:cubicBezTo>
                  <a:cubicBezTo>
                    <a:pt x="100" y="181"/>
                    <a:pt x="96" y="128"/>
                    <a:pt x="25" y="128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102" y="102"/>
                    <a:pt x="117" y="156"/>
                    <a:pt x="176" y="156"/>
                  </a:cubicBezTo>
                  <a:cubicBezTo>
                    <a:pt x="212" y="156"/>
                    <a:pt x="241" y="131"/>
                    <a:pt x="251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C4EB858-16F5-447C-8CD1-95E6944D5B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86763" y="4799013"/>
              <a:ext cx="144463" cy="152400"/>
            </a:xfrm>
            <a:custGeom>
              <a:avLst/>
              <a:gdLst>
                <a:gd name="T0" fmla="*/ 74 w 127"/>
                <a:gd name="T1" fmla="*/ 0 h 134"/>
                <a:gd name="T2" fmla="*/ 0 w 127"/>
                <a:gd name="T3" fmla="*/ 81 h 134"/>
                <a:gd name="T4" fmla="*/ 52 w 127"/>
                <a:gd name="T5" fmla="*/ 134 h 134"/>
                <a:gd name="T6" fmla="*/ 127 w 127"/>
                <a:gd name="T7" fmla="*/ 53 h 134"/>
                <a:gd name="T8" fmla="*/ 74 w 127"/>
                <a:gd name="T9" fmla="*/ 0 h 134"/>
                <a:gd name="T10" fmla="*/ 56 w 127"/>
                <a:gd name="T11" fmla="*/ 110 h 134"/>
                <a:gd name="T12" fmla="*/ 31 w 127"/>
                <a:gd name="T13" fmla="*/ 80 h 134"/>
                <a:gd name="T14" fmla="*/ 70 w 127"/>
                <a:gd name="T15" fmla="*/ 24 h 134"/>
                <a:gd name="T16" fmla="*/ 95 w 127"/>
                <a:gd name="T17" fmla="*/ 53 h 134"/>
                <a:gd name="T18" fmla="*/ 56 w 127"/>
                <a:gd name="T19" fmla="*/ 11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4">
                  <a:moveTo>
                    <a:pt x="74" y="0"/>
                  </a:moveTo>
                  <a:cubicBezTo>
                    <a:pt x="30" y="0"/>
                    <a:pt x="0" y="38"/>
                    <a:pt x="0" y="81"/>
                  </a:cubicBezTo>
                  <a:cubicBezTo>
                    <a:pt x="0" y="112"/>
                    <a:pt x="20" y="134"/>
                    <a:pt x="52" y="134"/>
                  </a:cubicBezTo>
                  <a:cubicBezTo>
                    <a:pt x="96" y="134"/>
                    <a:pt x="127" y="97"/>
                    <a:pt x="127" y="53"/>
                  </a:cubicBezTo>
                  <a:cubicBezTo>
                    <a:pt x="127" y="25"/>
                    <a:pt x="108" y="0"/>
                    <a:pt x="74" y="0"/>
                  </a:cubicBezTo>
                  <a:close/>
                  <a:moveTo>
                    <a:pt x="56" y="110"/>
                  </a:moveTo>
                  <a:cubicBezTo>
                    <a:pt x="41" y="110"/>
                    <a:pt x="31" y="98"/>
                    <a:pt x="31" y="80"/>
                  </a:cubicBezTo>
                  <a:cubicBezTo>
                    <a:pt x="31" y="56"/>
                    <a:pt x="46" y="24"/>
                    <a:pt x="70" y="24"/>
                  </a:cubicBezTo>
                  <a:cubicBezTo>
                    <a:pt x="89" y="24"/>
                    <a:pt x="95" y="40"/>
                    <a:pt x="95" y="53"/>
                  </a:cubicBezTo>
                  <a:cubicBezTo>
                    <a:pt x="95" y="79"/>
                    <a:pt x="79" y="110"/>
                    <a:pt x="5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3A981F20-097A-4E87-A28A-D7990023A0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48688" y="4799013"/>
              <a:ext cx="130175" cy="152400"/>
            </a:xfrm>
            <a:custGeom>
              <a:avLst/>
              <a:gdLst>
                <a:gd name="T0" fmla="*/ 114 w 114"/>
                <a:gd name="T1" fmla="*/ 36 h 134"/>
                <a:gd name="T2" fmla="*/ 73 w 114"/>
                <a:gd name="T3" fmla="*/ 0 h 134"/>
                <a:gd name="T4" fmla="*/ 0 w 114"/>
                <a:gd name="T5" fmla="*/ 81 h 134"/>
                <a:gd name="T6" fmla="*/ 53 w 114"/>
                <a:gd name="T7" fmla="*/ 134 h 134"/>
                <a:gd name="T8" fmla="*/ 98 w 114"/>
                <a:gd name="T9" fmla="*/ 124 h 134"/>
                <a:gd name="T10" fmla="*/ 95 w 114"/>
                <a:gd name="T11" fmla="*/ 101 h 134"/>
                <a:gd name="T12" fmla="*/ 60 w 114"/>
                <a:gd name="T13" fmla="*/ 110 h 134"/>
                <a:gd name="T14" fmla="*/ 33 w 114"/>
                <a:gd name="T15" fmla="*/ 97 h 134"/>
                <a:gd name="T16" fmla="*/ 30 w 114"/>
                <a:gd name="T17" fmla="*/ 78 h 134"/>
                <a:gd name="T18" fmla="*/ 114 w 114"/>
                <a:gd name="T19" fmla="*/ 36 h 134"/>
                <a:gd name="T20" fmla="*/ 69 w 114"/>
                <a:gd name="T21" fmla="*/ 23 h 134"/>
                <a:gd name="T22" fmla="*/ 85 w 114"/>
                <a:gd name="T23" fmla="*/ 36 h 134"/>
                <a:gd name="T24" fmla="*/ 85 w 114"/>
                <a:gd name="T25" fmla="*/ 36 h 134"/>
                <a:gd name="T26" fmla="*/ 33 w 114"/>
                <a:gd name="T27" fmla="*/ 56 h 134"/>
                <a:gd name="T28" fmla="*/ 69 w 114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34">
                  <a:moveTo>
                    <a:pt x="114" y="36"/>
                  </a:moveTo>
                  <a:cubicBezTo>
                    <a:pt x="114" y="15"/>
                    <a:pt x="98" y="0"/>
                    <a:pt x="73" y="0"/>
                  </a:cubicBezTo>
                  <a:cubicBezTo>
                    <a:pt x="28" y="0"/>
                    <a:pt x="0" y="42"/>
                    <a:pt x="0" y="81"/>
                  </a:cubicBezTo>
                  <a:cubicBezTo>
                    <a:pt x="0" y="112"/>
                    <a:pt x="17" y="134"/>
                    <a:pt x="53" y="134"/>
                  </a:cubicBezTo>
                  <a:cubicBezTo>
                    <a:pt x="68" y="134"/>
                    <a:pt x="85" y="130"/>
                    <a:pt x="98" y="124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84" y="107"/>
                    <a:pt x="72" y="110"/>
                    <a:pt x="60" y="110"/>
                  </a:cubicBezTo>
                  <a:cubicBezTo>
                    <a:pt x="47" y="110"/>
                    <a:pt x="38" y="105"/>
                    <a:pt x="33" y="97"/>
                  </a:cubicBezTo>
                  <a:cubicBezTo>
                    <a:pt x="30" y="92"/>
                    <a:pt x="29" y="83"/>
                    <a:pt x="30" y="78"/>
                  </a:cubicBezTo>
                  <a:cubicBezTo>
                    <a:pt x="79" y="80"/>
                    <a:pt x="114" y="69"/>
                    <a:pt x="114" y="36"/>
                  </a:cubicBezTo>
                  <a:close/>
                  <a:moveTo>
                    <a:pt x="69" y="23"/>
                  </a:moveTo>
                  <a:cubicBezTo>
                    <a:pt x="78" y="23"/>
                    <a:pt x="85" y="28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52"/>
                    <a:pt x="65" y="56"/>
                    <a:pt x="33" y="56"/>
                  </a:cubicBezTo>
                  <a:cubicBezTo>
                    <a:pt x="37" y="40"/>
                    <a:pt x="49" y="23"/>
                    <a:pt x="69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C2AB9588-E903-40E5-B566-970706FE8A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43963" y="4799013"/>
              <a:ext cx="112713" cy="152400"/>
            </a:xfrm>
            <a:custGeom>
              <a:avLst/>
              <a:gdLst>
                <a:gd name="T0" fmla="*/ 67 w 99"/>
                <a:gd name="T1" fmla="*/ 23 h 134"/>
                <a:gd name="T2" fmla="*/ 91 w 99"/>
                <a:gd name="T3" fmla="*/ 29 h 134"/>
                <a:gd name="T4" fmla="*/ 99 w 99"/>
                <a:gd name="T5" fmla="*/ 6 h 134"/>
                <a:gd name="T6" fmla="*/ 69 w 99"/>
                <a:gd name="T7" fmla="*/ 0 h 134"/>
                <a:gd name="T8" fmla="*/ 17 w 99"/>
                <a:gd name="T9" fmla="*/ 42 h 134"/>
                <a:gd name="T10" fmla="*/ 42 w 99"/>
                <a:gd name="T11" fmla="*/ 76 h 134"/>
                <a:gd name="T12" fmla="*/ 59 w 99"/>
                <a:gd name="T13" fmla="*/ 95 h 134"/>
                <a:gd name="T14" fmla="*/ 39 w 99"/>
                <a:gd name="T15" fmla="*/ 111 h 134"/>
                <a:gd name="T16" fmla="*/ 8 w 99"/>
                <a:gd name="T17" fmla="*/ 102 h 134"/>
                <a:gd name="T18" fmla="*/ 0 w 99"/>
                <a:gd name="T19" fmla="*/ 125 h 134"/>
                <a:gd name="T20" fmla="*/ 36 w 99"/>
                <a:gd name="T21" fmla="*/ 134 h 134"/>
                <a:gd name="T22" fmla="*/ 91 w 99"/>
                <a:gd name="T23" fmla="*/ 90 h 134"/>
                <a:gd name="T24" fmla="*/ 64 w 99"/>
                <a:gd name="T25" fmla="*/ 56 h 134"/>
                <a:gd name="T26" fmla="*/ 48 w 99"/>
                <a:gd name="T27" fmla="*/ 38 h 134"/>
                <a:gd name="T28" fmla="*/ 67 w 99"/>
                <a:gd name="T29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34">
                  <a:moveTo>
                    <a:pt x="67" y="23"/>
                  </a:moveTo>
                  <a:cubicBezTo>
                    <a:pt x="75" y="23"/>
                    <a:pt x="84" y="25"/>
                    <a:pt x="91" y="29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3" y="3"/>
                    <a:pt x="82" y="0"/>
                    <a:pt x="69" y="0"/>
                  </a:cubicBezTo>
                  <a:cubicBezTo>
                    <a:pt x="38" y="0"/>
                    <a:pt x="17" y="17"/>
                    <a:pt x="17" y="42"/>
                  </a:cubicBezTo>
                  <a:cubicBezTo>
                    <a:pt x="17" y="57"/>
                    <a:pt x="27" y="68"/>
                    <a:pt x="42" y="76"/>
                  </a:cubicBezTo>
                  <a:cubicBezTo>
                    <a:pt x="55" y="82"/>
                    <a:pt x="59" y="87"/>
                    <a:pt x="59" y="95"/>
                  </a:cubicBezTo>
                  <a:cubicBezTo>
                    <a:pt x="59" y="104"/>
                    <a:pt x="51" y="111"/>
                    <a:pt x="39" y="111"/>
                  </a:cubicBezTo>
                  <a:cubicBezTo>
                    <a:pt x="27" y="111"/>
                    <a:pt x="15" y="106"/>
                    <a:pt x="8" y="102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7" y="130"/>
                    <a:pt x="21" y="134"/>
                    <a:pt x="36" y="134"/>
                  </a:cubicBezTo>
                  <a:cubicBezTo>
                    <a:pt x="67" y="134"/>
                    <a:pt x="91" y="118"/>
                    <a:pt x="91" y="90"/>
                  </a:cubicBezTo>
                  <a:cubicBezTo>
                    <a:pt x="91" y="74"/>
                    <a:pt x="78" y="63"/>
                    <a:pt x="64" y="56"/>
                  </a:cubicBezTo>
                  <a:cubicBezTo>
                    <a:pt x="53" y="50"/>
                    <a:pt x="48" y="45"/>
                    <a:pt x="48" y="38"/>
                  </a:cubicBezTo>
                  <a:cubicBezTo>
                    <a:pt x="48" y="29"/>
                    <a:pt x="55" y="23"/>
                    <a:pt x="67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B1639A43-9D65-4BDE-9323-B4D9F902D6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6975" y="4740275"/>
              <a:ext cx="41275" cy="39688"/>
            </a:xfrm>
            <a:custGeom>
              <a:avLst/>
              <a:gdLst>
                <a:gd name="T0" fmla="*/ 0 w 35"/>
                <a:gd name="T1" fmla="*/ 19 h 35"/>
                <a:gd name="T2" fmla="*/ 18 w 35"/>
                <a:gd name="T3" fmla="*/ 0 h 35"/>
                <a:gd name="T4" fmla="*/ 18 w 35"/>
                <a:gd name="T5" fmla="*/ 0 h 35"/>
                <a:gd name="T6" fmla="*/ 35 w 35"/>
                <a:gd name="T7" fmla="*/ 17 h 35"/>
                <a:gd name="T8" fmla="*/ 16 w 35"/>
                <a:gd name="T9" fmla="*/ 35 h 35"/>
                <a:gd name="T10" fmla="*/ 15 w 35"/>
                <a:gd name="T11" fmla="*/ 35 h 35"/>
                <a:gd name="T12" fmla="*/ 0 w 35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5">
                  <a:moveTo>
                    <a:pt x="0" y="19"/>
                  </a:moveTo>
                  <a:cubicBezTo>
                    <a:pt x="0" y="9"/>
                    <a:pt x="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0"/>
                    <a:pt x="35" y="7"/>
                    <a:pt x="35" y="17"/>
                  </a:cubicBezTo>
                  <a:cubicBezTo>
                    <a:pt x="34" y="28"/>
                    <a:pt x="26" y="35"/>
                    <a:pt x="16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6" y="35"/>
                    <a:pt x="0" y="28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13255F10-456D-4CF7-B9DC-ADE776CC42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85225" y="4802188"/>
              <a:ext cx="61913" cy="146050"/>
            </a:xfrm>
            <a:custGeom>
              <a:avLst/>
              <a:gdLst>
                <a:gd name="T0" fmla="*/ 0 w 39"/>
                <a:gd name="T1" fmla="*/ 92 h 92"/>
                <a:gd name="T2" fmla="*/ 22 w 39"/>
                <a:gd name="T3" fmla="*/ 92 h 92"/>
                <a:gd name="T4" fmla="*/ 39 w 39"/>
                <a:gd name="T5" fmla="*/ 0 h 92"/>
                <a:gd name="T6" fmla="*/ 18 w 39"/>
                <a:gd name="T7" fmla="*/ 0 h 92"/>
                <a:gd name="T8" fmla="*/ 0 w 39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92">
                  <a:moveTo>
                    <a:pt x="0" y="92"/>
                  </a:moveTo>
                  <a:lnTo>
                    <a:pt x="22" y="92"/>
                  </a:lnTo>
                  <a:lnTo>
                    <a:pt x="39" y="0"/>
                  </a:lnTo>
                  <a:lnTo>
                    <a:pt x="18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8BBC6B2-64DB-44D7-B7E2-F92DD2B9B0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94738" y="4764088"/>
              <a:ext cx="92075" cy="187325"/>
            </a:xfrm>
            <a:custGeom>
              <a:avLst/>
              <a:gdLst>
                <a:gd name="T0" fmla="*/ 46 w 81"/>
                <a:gd name="T1" fmla="*/ 140 h 164"/>
                <a:gd name="T2" fmla="*/ 35 w 81"/>
                <a:gd name="T3" fmla="*/ 122 h 164"/>
                <a:gd name="T4" fmla="*/ 48 w 81"/>
                <a:gd name="T5" fmla="*/ 56 h 164"/>
                <a:gd name="T6" fmla="*/ 77 w 81"/>
                <a:gd name="T7" fmla="*/ 56 h 164"/>
                <a:gd name="T8" fmla="*/ 81 w 81"/>
                <a:gd name="T9" fmla="*/ 33 h 164"/>
                <a:gd name="T10" fmla="*/ 52 w 81"/>
                <a:gd name="T11" fmla="*/ 33 h 164"/>
                <a:gd name="T12" fmla="*/ 59 w 81"/>
                <a:gd name="T13" fmla="*/ 0 h 164"/>
                <a:gd name="T14" fmla="*/ 27 w 81"/>
                <a:gd name="T15" fmla="*/ 9 h 164"/>
                <a:gd name="T16" fmla="*/ 22 w 81"/>
                <a:gd name="T17" fmla="*/ 33 h 164"/>
                <a:gd name="T18" fmla="*/ 4 w 81"/>
                <a:gd name="T19" fmla="*/ 33 h 164"/>
                <a:gd name="T20" fmla="*/ 0 w 81"/>
                <a:gd name="T21" fmla="*/ 56 h 164"/>
                <a:gd name="T22" fmla="*/ 18 w 81"/>
                <a:gd name="T23" fmla="*/ 56 h 164"/>
                <a:gd name="T24" fmla="*/ 4 w 81"/>
                <a:gd name="T25" fmla="*/ 124 h 164"/>
                <a:gd name="T26" fmla="*/ 40 w 81"/>
                <a:gd name="T27" fmla="*/ 164 h 164"/>
                <a:gd name="T28" fmla="*/ 60 w 81"/>
                <a:gd name="T29" fmla="*/ 161 h 164"/>
                <a:gd name="T30" fmla="*/ 61 w 81"/>
                <a:gd name="T31" fmla="*/ 137 h 164"/>
                <a:gd name="T32" fmla="*/ 46 w 81"/>
                <a:gd name="T33" fmla="*/ 14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164">
                  <a:moveTo>
                    <a:pt x="46" y="140"/>
                  </a:moveTo>
                  <a:cubicBezTo>
                    <a:pt x="37" y="140"/>
                    <a:pt x="32" y="134"/>
                    <a:pt x="35" y="122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0" y="149"/>
                    <a:pt x="12" y="164"/>
                    <a:pt x="40" y="164"/>
                  </a:cubicBezTo>
                  <a:cubicBezTo>
                    <a:pt x="47" y="164"/>
                    <a:pt x="54" y="163"/>
                    <a:pt x="60" y="161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6" y="139"/>
                    <a:pt x="51" y="139"/>
                    <a:pt x="46" y="1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964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7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B85C81-1F24-4782-A407-3F35CDF2EAB6}"/>
              </a:ext>
            </a:extLst>
          </p:cNvPr>
          <p:cNvSpPr txBox="1"/>
          <p:nvPr userDrawn="1"/>
        </p:nvSpPr>
        <p:spPr>
          <a:xfrm>
            <a:off x="464992" y="6448961"/>
            <a:ext cx="24197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A023B00-8819-4A0A-A0F5-87FC2373ED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3967" y="6319781"/>
            <a:ext cx="948267" cy="3577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9164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07" Type="http://schemas.openxmlformats.org/officeDocument/2006/relationships/tags" Target="../tags/tag2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102" Type="http://schemas.openxmlformats.org/officeDocument/2006/relationships/slideLayout" Target="../slideLayouts/slideLayout102.xml"/><Relationship Id="rId11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slideLayout" Target="../slideLayouts/slideLayout103.xml"/><Relationship Id="rId108" Type="http://schemas.openxmlformats.org/officeDocument/2006/relationships/tags" Target="../tags/tag3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oleObject" Target="../embeddings/oleObject1.bin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6" Type="http://schemas.openxmlformats.org/officeDocument/2006/relationships/image" Target="../media/image23.emf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oleObject" Target="../embeddings/oleObject107.bin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ags" Target="../tags/tag1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79931B6-F870-4435-8547-1D2CC809FE42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9139" y="594615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49139" y="1825625"/>
            <a:ext cx="1129322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64992" y="6448961"/>
            <a:ext cx="32240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b="1" kern="1200" dirty="0">
              <a:solidFill>
                <a:schemeClr val="tx2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C804CEA-A694-45D0-9898-CC1F1AA702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2800" y="6459221"/>
            <a:ext cx="3185408" cy="164148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Name or Footer Copy</a:t>
            </a:r>
          </a:p>
        </p:txBody>
      </p:sp>
    </p:spTree>
    <p:extLst>
      <p:ext uri="{BB962C8B-B14F-4D97-AF65-F5344CB8AC3E}">
        <p14:creationId xmlns:p14="http://schemas.microsoft.com/office/powerpoint/2010/main" val="827698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  <p:sldLayoutId id="2147483758" r:id="rId98"/>
    <p:sldLayoutId id="2147483759" r:id="rId99"/>
    <p:sldLayoutId id="2147483760" r:id="rId100"/>
    <p:sldLayoutId id="2147483761" r:id="rId101"/>
    <p:sldLayoutId id="2147483762" r:id="rId102"/>
    <p:sldLayoutId id="2147483763" r:id="rId103"/>
    <p:sldLayoutId id="2147483764" r:id="rId104"/>
    <p:sldLayoutId id="2147483765" r:id="rId10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6">
          <p15:clr>
            <a:srgbClr val="F26B43"/>
          </p15:clr>
        </p15:guide>
        <p15:guide id="2" pos="272">
          <p15:clr>
            <a:srgbClr val="F26B43"/>
          </p15:clr>
        </p15:guide>
        <p15:guide id="3" pos="7408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822A27-8858-437A-9ECF-585BAB133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7938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822A27-8858-437A-9ECF-585BAB133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6E12FBA1-D1F9-49BC-94D9-3D8A1CB50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BA494BA-3497-4394-87D2-DA3839062D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5FA51C0-8D8A-4527-BFE6-54BDDFCB8D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591FF-6BEA-4293-B019-97EF19443D4B}" type="datetimeFigureOut">
              <a:rPr lang="zh-CN" altLang="en-US" smtClean="0"/>
              <a:t>2024/1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E2C82D2-42AA-45EA-9A60-297CC9F57C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B708EC7-5E03-4BEE-B447-0968F4F3B7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D0B2C7-5AB8-4E30-9128-0A964CCF54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3640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29.png"/><Relationship Id="rId12" Type="http://schemas.openxmlformats.org/officeDocument/2006/relationships/image" Target="../media/image34.jpeg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image" Target="../media/image25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120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35.png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1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2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.xml"/><Relationship Id="rId7" Type="http://schemas.openxmlformats.org/officeDocument/2006/relationships/image" Target="../media/image25.emf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oleObject" Target="../embeddings/oleObject111.bin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10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.bin"/><Relationship Id="rId13" Type="http://schemas.openxmlformats.org/officeDocument/2006/relationships/oleObject" Target="../embeddings/oleObject115.bin"/><Relationship Id="rId3" Type="http://schemas.openxmlformats.org/officeDocument/2006/relationships/tags" Target="../tags/tag199.xml"/><Relationship Id="rId7" Type="http://schemas.openxmlformats.org/officeDocument/2006/relationships/notesSlide" Target="../notesSlides/notesSlide2.xml"/><Relationship Id="rId12" Type="http://schemas.openxmlformats.org/officeDocument/2006/relationships/oleObject" Target="../embeddings/oleObject114.bin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slideLayout" Target="../slideLayouts/slideLayout79.xml"/><Relationship Id="rId11" Type="http://schemas.openxmlformats.org/officeDocument/2006/relationships/image" Target="../media/image25.emf"/><Relationship Id="rId5" Type="http://schemas.openxmlformats.org/officeDocument/2006/relationships/tags" Target="../tags/tag201.xml"/><Relationship Id="rId10" Type="http://schemas.openxmlformats.org/officeDocument/2006/relationships/oleObject" Target="../embeddings/oleObject113.bin"/><Relationship Id="rId4" Type="http://schemas.openxmlformats.org/officeDocument/2006/relationships/tags" Target="../tags/tag200.xml"/><Relationship Id="rId9" Type="http://schemas.openxmlformats.org/officeDocument/2006/relationships/image" Target="../media/image2.emf"/><Relationship Id="rId14" Type="http://schemas.openxmlformats.org/officeDocument/2006/relationships/oleObject" Target="../embeddings/oleObject116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04.xml"/><Relationship Id="rId7" Type="http://schemas.openxmlformats.org/officeDocument/2006/relationships/image" Target="../media/image25.emf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oleObject" Target="../embeddings/oleObject117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64.xml"/><Relationship Id="rId9" Type="http://schemas.openxmlformats.org/officeDocument/2006/relationships/oleObject" Target="../embeddings/oleObject118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3.bin"/><Relationship Id="rId4" Type="http://schemas.openxmlformats.org/officeDocument/2006/relationships/notesSlide" Target="../notesSlides/notesSlide1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4.bin"/><Relationship Id="rId4" Type="http://schemas.openxmlformats.org/officeDocument/2006/relationships/notesSlide" Target="../notesSlides/notesSlide1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37.xml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19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#dim_source_Customer!A1"/><Relationship Id="rId13" Type="http://schemas.openxmlformats.org/officeDocument/2006/relationships/hyperlink" Target="#dim_Market_Code!A1"/><Relationship Id="rId18" Type="http://schemas.openxmlformats.org/officeDocument/2006/relationships/hyperlink" Target="#dim_TP_Account_Position!A1"/><Relationship Id="rId3" Type="http://schemas.openxmlformats.org/officeDocument/2006/relationships/slideLayout" Target="../slideLayouts/slideLayout117.xml"/><Relationship Id="rId21" Type="http://schemas.openxmlformats.org/officeDocument/2006/relationships/hyperlink" Target="#fact_CallDetails!A1"/><Relationship Id="rId7" Type="http://schemas.openxmlformats.org/officeDocument/2006/relationships/hyperlink" Target="#dim_Customer!A1"/><Relationship Id="rId12" Type="http://schemas.openxmlformats.org/officeDocument/2006/relationships/hyperlink" Target="#dim_Sales_Representative!A1"/><Relationship Id="rId17" Type="http://schemas.openxmlformats.org/officeDocument/2006/relationships/hyperlink" Target="#fact_Account_Position!A1"/><Relationship Id="rId2" Type="http://schemas.openxmlformats.org/officeDocument/2006/relationships/tags" Target="../tags/tag212.xml"/><Relationship Id="rId16" Type="http://schemas.openxmlformats.org/officeDocument/2006/relationships/hyperlink" Target="#rpt_GSA_Sales_Allocation_German!A1"/><Relationship Id="rId20" Type="http://schemas.openxmlformats.org/officeDocument/2006/relationships/hyperlink" Target="#dim_TP_Customer_Brand_Potential!A1"/><Relationship Id="rId1" Type="http://schemas.openxmlformats.org/officeDocument/2006/relationships/tags" Target="../tags/tag211.xml"/><Relationship Id="rId6" Type="http://schemas.openxmlformats.org/officeDocument/2006/relationships/image" Target="../media/image25.emf"/><Relationship Id="rId11" Type="http://schemas.openxmlformats.org/officeDocument/2006/relationships/hyperlink" Target="#dim_Territory!A1"/><Relationship Id="rId5" Type="http://schemas.openxmlformats.org/officeDocument/2006/relationships/oleObject" Target="../embeddings/oleObject120.bin"/><Relationship Id="rId15" Type="http://schemas.openxmlformats.org/officeDocument/2006/relationships/hyperlink" Target="#rpt_GSA_Sales_Allocation_INTL!A1"/><Relationship Id="rId10" Type="http://schemas.openxmlformats.org/officeDocument/2006/relationships/hyperlink" Target="#dim_Product!A1"/><Relationship Id="rId19" Type="http://schemas.openxmlformats.org/officeDocument/2006/relationships/hyperlink" Target="#fact_Customer_Brand_Potential!A1"/><Relationship Id="rId4" Type="http://schemas.openxmlformats.org/officeDocument/2006/relationships/notesSlide" Target="../notesSlides/notesSlide7.xml"/><Relationship Id="rId9" Type="http://schemas.openxmlformats.org/officeDocument/2006/relationships/hyperlink" Target="#dim_Source_Product!A1"/><Relationship Id="rId14" Type="http://schemas.openxmlformats.org/officeDocument/2006/relationships/hyperlink" Target="#rpt_Currency_Conversion_Rate!A1"/><Relationship Id="rId22" Type="http://schemas.openxmlformats.org/officeDocument/2006/relationships/hyperlink" Target="#rpt_Species_Alloc_Aligned_Sls!A1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7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F37F82-BF80-4457-A27D-053B5B166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F37F82-BF80-4457-A27D-053B5B166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>
            <a:extLst>
              <a:ext uri="{FF2B5EF4-FFF2-40B4-BE49-F238E27FC236}">
                <a16:creationId xmlns:a16="http://schemas.microsoft.com/office/drawing/2014/main" id="{99DEDE49-12D6-40A8-BF4E-FEF1DFAC31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1987" y="5294952"/>
            <a:ext cx="5788352" cy="291448"/>
          </a:xfrm>
        </p:spPr>
        <p:txBody>
          <a:bodyPr/>
          <a:lstStyle/>
          <a:p>
            <a:r>
              <a:rPr lang="en-US" dirty="0"/>
              <a:t>June 14</a:t>
            </a:r>
            <a:r>
              <a:rPr lang="en-US" baseline="30000" dirty="0"/>
              <a:t>th</a:t>
            </a:r>
            <a:r>
              <a:rPr lang="en-US" dirty="0"/>
              <a:t>, 2023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6C63691-A209-489E-BCC7-9DFDB69F4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9" y="992352"/>
            <a:ext cx="5788352" cy="3348609"/>
          </a:xfrm>
        </p:spPr>
        <p:txBody>
          <a:bodyPr vert="horz"/>
          <a:lstStyle/>
          <a:p>
            <a:r>
              <a:rPr lang="en-US" dirty="0"/>
              <a:t>NGSE C</a:t>
            </a:r>
            <a:r>
              <a:rPr lang="en-US" altLang="zh-CN" dirty="0"/>
              <a:t>hina</a:t>
            </a:r>
            <a:r>
              <a:rPr lang="en-US" dirty="0"/>
              <a:t> – D</a:t>
            </a:r>
            <a:r>
              <a:rPr lang="en-US" altLang="zh-CN" dirty="0"/>
              <a:t>ata Readiness Assess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37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System Comparison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6E76A92-1E45-4441-9C32-C615DC74D1FC}"/>
              </a:ext>
            </a:extLst>
          </p:cNvPr>
          <p:cNvSpPr/>
          <p:nvPr/>
        </p:nvSpPr>
        <p:spPr>
          <a:xfrm>
            <a:off x="305333" y="4177568"/>
            <a:ext cx="941996" cy="918496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Global Source System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4F7B26E-0E04-4131-897C-69BC0A0F06FF}"/>
              </a:ext>
            </a:extLst>
          </p:cNvPr>
          <p:cNvSpPr/>
          <p:nvPr/>
        </p:nvSpPr>
        <p:spPr>
          <a:xfrm>
            <a:off x="305991" y="1555917"/>
            <a:ext cx="941996" cy="918496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China Source System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4CFF175-2A99-4477-BA54-A73B6D466C40}"/>
              </a:ext>
            </a:extLst>
          </p:cNvPr>
          <p:cNvSpPr/>
          <p:nvPr/>
        </p:nvSpPr>
        <p:spPr>
          <a:xfrm>
            <a:off x="305333" y="2640825"/>
            <a:ext cx="941996" cy="788175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Has integrated to China DDP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4C4F1FF-A7AB-4A7B-8AE6-A8BDEA9FD610}"/>
              </a:ext>
            </a:extLst>
          </p:cNvPr>
          <p:cNvSpPr/>
          <p:nvPr/>
        </p:nvSpPr>
        <p:spPr>
          <a:xfrm>
            <a:off x="305333" y="5226265"/>
            <a:ext cx="941996" cy="918496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Features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6807A4F-FA2F-4804-9D78-28359A997E74}"/>
              </a:ext>
            </a:extLst>
          </p:cNvPr>
          <p:cNvGrpSpPr/>
          <p:nvPr/>
        </p:nvGrpSpPr>
        <p:grpSpPr>
          <a:xfrm>
            <a:off x="1494880" y="1096412"/>
            <a:ext cx="1203054" cy="5048349"/>
            <a:chOff x="1494880" y="1096412"/>
            <a:chExt cx="1203054" cy="5048349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8E304A90-258E-4C7D-8E2C-00262B0B41BC}"/>
                </a:ext>
              </a:extLst>
            </p:cNvPr>
            <p:cNvSpPr/>
            <p:nvPr/>
          </p:nvSpPr>
          <p:spPr>
            <a:xfrm>
              <a:off x="1494880" y="1096412"/>
              <a:ext cx="1203054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Direct Market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C3E80966-E983-49DC-911C-5D7ACED54FE4}"/>
                </a:ext>
              </a:extLst>
            </p:cNvPr>
            <p:cNvSpPr/>
            <p:nvPr/>
          </p:nvSpPr>
          <p:spPr>
            <a:xfrm>
              <a:off x="1494880" y="5226265"/>
              <a:ext cx="1168796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ERP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Order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Finance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Shipment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ts val="8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Inventory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1E708147-2E39-4C6C-809D-EAD2B0173BC2}"/>
                </a:ext>
              </a:extLst>
            </p:cNvPr>
            <p:cNvSpPr/>
            <p:nvPr/>
          </p:nvSpPr>
          <p:spPr>
            <a:xfrm>
              <a:off x="1494880" y="1555917"/>
              <a:ext cx="1203054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乘号 13">
              <a:extLst>
                <a:ext uri="{FF2B5EF4-FFF2-40B4-BE49-F238E27FC236}">
                  <a16:creationId xmlns:a16="http://schemas.microsoft.com/office/drawing/2014/main" id="{B7D72139-C386-4F25-B716-646F21B1F116}"/>
                </a:ext>
              </a:extLst>
            </p:cNvPr>
            <p:cNvSpPr/>
            <p:nvPr/>
          </p:nvSpPr>
          <p:spPr>
            <a:xfrm>
              <a:off x="1902022" y="1834837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9B5A41A6-8F76-4CC7-9AA3-9EBB76C901A7}"/>
                </a:ext>
              </a:extLst>
            </p:cNvPr>
            <p:cNvSpPr/>
            <p:nvPr/>
          </p:nvSpPr>
          <p:spPr>
            <a:xfrm>
              <a:off x="1494880" y="2640825"/>
              <a:ext cx="1203054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/</a:t>
              </a: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乘号 15">
              <a:extLst>
                <a:ext uri="{FF2B5EF4-FFF2-40B4-BE49-F238E27FC236}">
                  <a16:creationId xmlns:a16="http://schemas.microsoft.com/office/drawing/2014/main" id="{183F571B-63C8-443E-B560-4BAF2B4C1EF8}"/>
                </a:ext>
              </a:extLst>
            </p:cNvPr>
            <p:cNvSpPr/>
            <p:nvPr/>
          </p:nvSpPr>
          <p:spPr>
            <a:xfrm>
              <a:off x="1902021" y="2838334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A4226873-D0E1-4612-B19C-76B30B1FFE3C}"/>
                </a:ext>
              </a:extLst>
            </p:cNvPr>
            <p:cNvSpPr txBox="1"/>
            <p:nvPr/>
          </p:nvSpPr>
          <p:spPr>
            <a:xfrm flipH="1">
              <a:off x="1551528" y="4792345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SAP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E5E782B8-DBE5-4528-AC2C-221B29679FA6}"/>
                </a:ext>
              </a:extLst>
            </p:cNvPr>
            <p:cNvSpPr/>
            <p:nvPr/>
          </p:nvSpPr>
          <p:spPr>
            <a:xfrm>
              <a:off x="1494880" y="4172337"/>
              <a:ext cx="1168796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756277A2-5B9D-47E6-8759-FFAA3819BD5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80" r="10486"/>
            <a:stretch/>
          </p:blipFill>
          <p:spPr bwMode="auto">
            <a:xfrm>
              <a:off x="1773153" y="4303288"/>
              <a:ext cx="754062" cy="423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9A8688D0-3018-4C8B-9C95-3AFF4DB439E3}"/>
              </a:ext>
            </a:extLst>
          </p:cNvPr>
          <p:cNvGrpSpPr/>
          <p:nvPr/>
        </p:nvGrpSpPr>
        <p:grpSpPr>
          <a:xfrm>
            <a:off x="4867884" y="1096412"/>
            <a:ext cx="2090689" cy="5048349"/>
            <a:chOff x="4723949" y="1096412"/>
            <a:chExt cx="2090689" cy="5048349"/>
          </a:xfrm>
        </p:grpSpPr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ADCDC9BB-1F0C-41EC-B879-CDD61D1AE127}"/>
                </a:ext>
              </a:extLst>
            </p:cNvPr>
            <p:cNvSpPr/>
            <p:nvPr/>
          </p:nvSpPr>
          <p:spPr>
            <a:xfrm>
              <a:off x="4802413" y="1096412"/>
              <a:ext cx="1911654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RM</a:t>
              </a:r>
            </a:p>
          </p:txBody>
        </p:sp>
        <p:pic>
          <p:nvPicPr>
            <p:cNvPr id="22" name="图片 21">
              <a:extLst>
                <a:ext uri="{FF2B5EF4-FFF2-40B4-BE49-F238E27FC236}">
                  <a16:creationId xmlns:a16="http://schemas.microsoft.com/office/drawing/2014/main" id="{772ECEBF-8E9F-42D9-82E6-4E2419B85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456475" y="4293532"/>
              <a:ext cx="498812" cy="498813"/>
            </a:xfrm>
            <a:prstGeom prst="rect">
              <a:avLst/>
            </a:prstGeom>
          </p:spPr>
        </p:pic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58778598-4623-414C-8940-D68CEAD1CBEC}"/>
                </a:ext>
              </a:extLst>
            </p:cNvPr>
            <p:cNvSpPr txBox="1"/>
            <p:nvPr/>
          </p:nvSpPr>
          <p:spPr>
            <a:xfrm flipH="1">
              <a:off x="5213443" y="4802215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Touchpoint</a:t>
              </a: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329CE36E-2B61-4596-9061-3B035B3B257C}"/>
                </a:ext>
              </a:extLst>
            </p:cNvPr>
            <p:cNvSpPr/>
            <p:nvPr/>
          </p:nvSpPr>
          <p:spPr>
            <a:xfrm>
              <a:off x="4800261" y="4172337"/>
              <a:ext cx="1900936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7CEF6EF5-AA96-4F32-94A0-DED90F53572D}"/>
                </a:ext>
              </a:extLst>
            </p:cNvPr>
            <p:cNvSpPr txBox="1"/>
            <p:nvPr/>
          </p:nvSpPr>
          <p:spPr>
            <a:xfrm flipH="1">
              <a:off x="4723949" y="2170421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WeChat</a:t>
              </a:r>
              <a:endParaRPr kumimoji="0" lang="zh-CN" alt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E5863C6C-05DD-4531-8152-7F95D95D1C91}"/>
                </a:ext>
              </a:extLst>
            </p:cNvPr>
            <p:cNvSpPr/>
            <p:nvPr/>
          </p:nvSpPr>
          <p:spPr>
            <a:xfrm>
              <a:off x="4800337" y="1555917"/>
              <a:ext cx="912043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27" name="Picture 4">
              <a:extLst>
                <a:ext uri="{FF2B5EF4-FFF2-40B4-BE49-F238E27FC236}">
                  <a16:creationId xmlns:a16="http://schemas.microsoft.com/office/drawing/2014/main" id="{24D865B1-1415-461E-B6BF-50BFB68E015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13" t="8346" r="2850" b="9288"/>
            <a:stretch/>
          </p:blipFill>
          <p:spPr bwMode="auto">
            <a:xfrm>
              <a:off x="4968389" y="1702619"/>
              <a:ext cx="567040" cy="491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图片 27">
              <a:extLst>
                <a:ext uri="{FF2B5EF4-FFF2-40B4-BE49-F238E27FC236}">
                  <a16:creationId xmlns:a16="http://schemas.microsoft.com/office/drawing/2014/main" id="{7BF071EB-3892-4E64-933A-56BA58CFC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37271" y="1678242"/>
              <a:ext cx="498812" cy="498813"/>
            </a:xfrm>
            <a:prstGeom prst="rect">
              <a:avLst/>
            </a:prstGeom>
          </p:spPr>
        </p:pic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4A3245D8-E812-4E18-97F0-DF26988CF75F}"/>
                </a:ext>
              </a:extLst>
            </p:cNvPr>
            <p:cNvSpPr txBox="1"/>
            <p:nvPr/>
          </p:nvSpPr>
          <p:spPr>
            <a:xfrm flipH="1">
              <a:off x="5758717" y="2161369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Touchpoint</a:t>
              </a: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8A4EB0FB-0A4F-410D-9279-5B8D200B13F4}"/>
                </a:ext>
              </a:extLst>
            </p:cNvPr>
            <p:cNvSpPr/>
            <p:nvPr/>
          </p:nvSpPr>
          <p:spPr>
            <a:xfrm>
              <a:off x="5826205" y="1555917"/>
              <a:ext cx="877800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47DCB973-461F-49F5-8918-C41A01EF6864}"/>
                </a:ext>
              </a:extLst>
            </p:cNvPr>
            <p:cNvSpPr/>
            <p:nvPr/>
          </p:nvSpPr>
          <p:spPr>
            <a:xfrm>
              <a:off x="4800337" y="2640825"/>
              <a:ext cx="910237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0C6C4874-B993-41EE-A033-DBC4D55A0D0E}"/>
                </a:ext>
              </a:extLst>
            </p:cNvPr>
            <p:cNvGrpSpPr/>
            <p:nvPr/>
          </p:nvGrpSpPr>
          <p:grpSpPr>
            <a:xfrm>
              <a:off x="5003339" y="2838334"/>
              <a:ext cx="316864" cy="445493"/>
              <a:chOff x="5003339" y="2838334"/>
              <a:chExt cx="316864" cy="445493"/>
            </a:xfrm>
          </p:grpSpPr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65E627AE-71C1-405B-ACC8-029106969410}"/>
                  </a:ext>
                </a:extLst>
              </p:cNvPr>
              <p:cNvSpPr/>
              <p:nvPr/>
            </p:nvSpPr>
            <p:spPr>
              <a:xfrm rot="1668317">
                <a:off x="5003339" y="3120905"/>
                <a:ext cx="221361" cy="10546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2614026A-BEFD-4D8C-90C6-A8196768AEE0}"/>
                  </a:ext>
                </a:extLst>
              </p:cNvPr>
              <p:cNvSpPr/>
              <p:nvPr/>
            </p:nvSpPr>
            <p:spPr>
              <a:xfrm rot="17846275">
                <a:off x="5043842" y="3007467"/>
                <a:ext cx="445493" cy="10722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11E71D43-A962-40B2-8FCF-3E10BA4006E1}"/>
                </a:ext>
              </a:extLst>
            </p:cNvPr>
            <p:cNvSpPr/>
            <p:nvPr/>
          </p:nvSpPr>
          <p:spPr>
            <a:xfrm>
              <a:off x="5824663" y="2640825"/>
              <a:ext cx="876534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/</a:t>
              </a: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乘号 33">
              <a:extLst>
                <a:ext uri="{FF2B5EF4-FFF2-40B4-BE49-F238E27FC236}">
                  <a16:creationId xmlns:a16="http://schemas.microsoft.com/office/drawing/2014/main" id="{CFAB4ADE-C713-4ACE-83FC-2C32EAB4DFD4}"/>
                </a:ext>
              </a:extLst>
            </p:cNvPr>
            <p:cNvSpPr/>
            <p:nvPr/>
          </p:nvSpPr>
          <p:spPr>
            <a:xfrm>
              <a:off x="6083945" y="2838334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6850BBD6-D158-4F6C-93CD-579643384457}"/>
                </a:ext>
              </a:extLst>
            </p:cNvPr>
            <p:cNvSpPr/>
            <p:nvPr/>
          </p:nvSpPr>
          <p:spPr>
            <a:xfrm>
              <a:off x="4800261" y="5226265"/>
              <a:ext cx="942687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mpaign Call Activity (SFE)</a:t>
              </a: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97779031-86A2-4B80-A8B0-D9F67229F64C}"/>
                </a:ext>
              </a:extLst>
            </p:cNvPr>
            <p:cNvSpPr/>
            <p:nvPr/>
          </p:nvSpPr>
          <p:spPr>
            <a:xfrm>
              <a:off x="5823794" y="5226265"/>
              <a:ext cx="877403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Regular Call</a:t>
              </a:r>
            </a:p>
          </p:txBody>
        </p:sp>
      </p:grpSp>
      <p:cxnSp>
        <p:nvCxnSpPr>
          <p:cNvPr id="39" name="直接箭头连接符 38">
            <a:extLst>
              <a:ext uri="{FF2B5EF4-FFF2-40B4-BE49-F238E27FC236}">
                <a16:creationId xmlns:a16="http://schemas.microsoft.com/office/drawing/2014/main" id="{D18311FB-4D98-4EA4-BC48-4DA352BB5FC3}"/>
              </a:ext>
            </a:extLst>
          </p:cNvPr>
          <p:cNvCxnSpPr>
            <a:cxnSpLocks/>
          </p:cNvCxnSpPr>
          <p:nvPr/>
        </p:nvCxnSpPr>
        <p:spPr>
          <a:xfrm flipV="1">
            <a:off x="6084596" y="4458785"/>
            <a:ext cx="1275039" cy="795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直接箭头连接符 39">
            <a:extLst>
              <a:ext uri="{FF2B5EF4-FFF2-40B4-BE49-F238E27FC236}">
                <a16:creationId xmlns:a16="http://schemas.microsoft.com/office/drawing/2014/main" id="{7BDFC843-3D16-4FF4-97C2-65C5B7F5A901}"/>
              </a:ext>
            </a:extLst>
          </p:cNvPr>
          <p:cNvCxnSpPr>
            <a:cxnSpLocks/>
          </p:cNvCxnSpPr>
          <p:nvPr/>
        </p:nvCxnSpPr>
        <p:spPr>
          <a:xfrm flipH="1">
            <a:off x="6084596" y="4587933"/>
            <a:ext cx="1275039" cy="1423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EAA184E2-DC51-4251-92D3-C479A696353C}"/>
              </a:ext>
            </a:extLst>
          </p:cNvPr>
          <p:cNvGrpSpPr/>
          <p:nvPr/>
        </p:nvGrpSpPr>
        <p:grpSpPr>
          <a:xfrm>
            <a:off x="10141614" y="1096412"/>
            <a:ext cx="1686321" cy="5048349"/>
            <a:chOff x="10319412" y="1096412"/>
            <a:chExt cx="1686321" cy="5048349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2ED0E14-1C09-43D7-84DF-266CE3D65D2C}"/>
                </a:ext>
              </a:extLst>
            </p:cNvPr>
            <p:cNvSpPr/>
            <p:nvPr/>
          </p:nvSpPr>
          <p:spPr>
            <a:xfrm>
              <a:off x="10319413" y="1096412"/>
              <a:ext cx="1686318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rket Research</a:t>
              </a:r>
            </a:p>
          </p:txBody>
        </p: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AFBF657A-936C-4278-8AE7-0FB563BBD41A}"/>
                </a:ext>
              </a:extLst>
            </p:cNvPr>
            <p:cNvSpPr/>
            <p:nvPr/>
          </p:nvSpPr>
          <p:spPr>
            <a:xfrm>
              <a:off x="10319413" y="5226265"/>
              <a:ext cx="1686320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Global (customer feedback on 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products</a:t>
              </a: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)</a:t>
              </a:r>
            </a:p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hina (customer feedback on 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distributor</a:t>
              </a: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)</a:t>
              </a:r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CD78D4A9-9AC7-403D-9D6D-FA8B5F6A7F25}"/>
                </a:ext>
              </a:extLst>
            </p:cNvPr>
            <p:cNvSpPr/>
            <p:nvPr/>
          </p:nvSpPr>
          <p:spPr>
            <a:xfrm>
              <a:off x="10319412" y="2640825"/>
              <a:ext cx="1686319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5" name="组合 44">
              <a:extLst>
                <a:ext uri="{FF2B5EF4-FFF2-40B4-BE49-F238E27FC236}">
                  <a16:creationId xmlns:a16="http://schemas.microsoft.com/office/drawing/2014/main" id="{EA53DF8E-17A5-4A23-95A2-D83817C402E8}"/>
                </a:ext>
              </a:extLst>
            </p:cNvPr>
            <p:cNvGrpSpPr/>
            <p:nvPr/>
          </p:nvGrpSpPr>
          <p:grpSpPr>
            <a:xfrm>
              <a:off x="10857742" y="2838334"/>
              <a:ext cx="316864" cy="445493"/>
              <a:chOff x="5385046" y="2195322"/>
              <a:chExt cx="344416" cy="482204"/>
            </a:xfrm>
          </p:grpSpPr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7E43D12D-F607-4A5C-A5D9-43FEAAECF52F}"/>
                  </a:ext>
                </a:extLst>
              </p:cNvPr>
              <p:cNvSpPr/>
              <p:nvPr/>
            </p:nvSpPr>
            <p:spPr>
              <a:xfrm rot="1668317">
                <a:off x="5385046" y="2501177"/>
                <a:ext cx="240609" cy="114157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2" name="矩形 51">
                <a:extLst>
                  <a:ext uri="{FF2B5EF4-FFF2-40B4-BE49-F238E27FC236}">
                    <a16:creationId xmlns:a16="http://schemas.microsoft.com/office/drawing/2014/main" id="{68CA5DD3-4939-4589-8FDD-2A87A797B2F1}"/>
                  </a:ext>
                </a:extLst>
              </p:cNvPr>
              <p:cNvSpPr/>
              <p:nvPr/>
            </p:nvSpPr>
            <p:spPr>
              <a:xfrm rot="17846275">
                <a:off x="5430084" y="2378148"/>
                <a:ext cx="482204" cy="116552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129049C7-A2E7-437E-A923-5F650554ABBD}"/>
                </a:ext>
              </a:extLst>
            </p:cNvPr>
            <p:cNvSpPr txBox="1"/>
            <p:nvPr/>
          </p:nvSpPr>
          <p:spPr>
            <a:xfrm flipH="1">
              <a:off x="10490674" y="4777789"/>
              <a:ext cx="11422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Monkey Service</a:t>
              </a: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9DE91373-D963-4472-B861-90064CE12723}"/>
                </a:ext>
              </a:extLst>
            </p:cNvPr>
            <p:cNvSpPr/>
            <p:nvPr/>
          </p:nvSpPr>
          <p:spPr>
            <a:xfrm>
              <a:off x="10319412" y="4172337"/>
              <a:ext cx="1686319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8" name="立方体 47">
              <a:extLst>
                <a:ext uri="{FF2B5EF4-FFF2-40B4-BE49-F238E27FC236}">
                  <a16:creationId xmlns:a16="http://schemas.microsoft.com/office/drawing/2014/main" id="{FA652336-C9A1-4F74-B3AC-5869BC6FD288}"/>
                </a:ext>
              </a:extLst>
            </p:cNvPr>
            <p:cNvSpPr/>
            <p:nvPr/>
          </p:nvSpPr>
          <p:spPr>
            <a:xfrm>
              <a:off x="10789247" y="4273537"/>
              <a:ext cx="508177" cy="522894"/>
            </a:xfrm>
            <a:prstGeom prst="cub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DC770102-25D3-417F-AC29-5DB591B23DA0}"/>
                </a:ext>
              </a:extLst>
            </p:cNvPr>
            <p:cNvSpPr/>
            <p:nvPr/>
          </p:nvSpPr>
          <p:spPr>
            <a:xfrm>
              <a:off x="10319412" y="1555917"/>
              <a:ext cx="1686319" cy="9184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No Source System</a:t>
              </a: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33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ollected by </a:t>
              </a:r>
              <a:r>
                <a:rPr kumimoji="0" lang="en-US" altLang="zh-CN" sz="933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website survey</a:t>
              </a:r>
              <a:endParaRPr kumimoji="0" lang="zh-CN" altLang="en-US" sz="933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0" name="乘号 49">
              <a:extLst>
                <a:ext uri="{FF2B5EF4-FFF2-40B4-BE49-F238E27FC236}">
                  <a16:creationId xmlns:a16="http://schemas.microsoft.com/office/drawing/2014/main" id="{F65FCEFA-8F03-4B5B-BFB6-D2550282512C}"/>
                </a:ext>
              </a:extLst>
            </p:cNvPr>
            <p:cNvSpPr/>
            <p:nvPr/>
          </p:nvSpPr>
          <p:spPr>
            <a:xfrm>
              <a:off x="10968186" y="1620707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5F08073B-BB0D-4A8F-9558-EF2D70CF6CAD}"/>
              </a:ext>
            </a:extLst>
          </p:cNvPr>
          <p:cNvGrpSpPr/>
          <p:nvPr/>
        </p:nvGrpSpPr>
        <p:grpSpPr>
          <a:xfrm>
            <a:off x="8306663" y="1096411"/>
            <a:ext cx="1532693" cy="5048349"/>
            <a:chOff x="8341596" y="1096412"/>
            <a:chExt cx="1532693" cy="504834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BA79F828-3472-404E-85E6-F82504C9147E}"/>
                </a:ext>
              </a:extLst>
            </p:cNvPr>
            <p:cNvSpPr/>
            <p:nvPr/>
          </p:nvSpPr>
          <p:spPr>
            <a:xfrm>
              <a:off x="8347273" y="1096412"/>
              <a:ext cx="1527016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rket Campaign</a:t>
              </a:r>
            </a:p>
          </p:txBody>
        </p: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7C9C5B8E-5CFB-47D9-B041-44C1C11B3952}"/>
                </a:ext>
              </a:extLst>
            </p:cNvPr>
            <p:cNvSpPr txBox="1"/>
            <p:nvPr/>
          </p:nvSpPr>
          <p:spPr>
            <a:xfrm flipH="1">
              <a:off x="8499722" y="2157192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Mini Program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BAFAB341-D3A8-48AE-88FC-EA4980154BF8}"/>
                </a:ext>
              </a:extLst>
            </p:cNvPr>
            <p:cNvSpPr/>
            <p:nvPr/>
          </p:nvSpPr>
          <p:spPr>
            <a:xfrm>
              <a:off x="8347273" y="1555917"/>
              <a:ext cx="1527015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57" name="Picture 2" descr="Page Modules Sdn Bhd">
              <a:extLst>
                <a:ext uri="{FF2B5EF4-FFF2-40B4-BE49-F238E27FC236}">
                  <a16:creationId xmlns:a16="http://schemas.microsoft.com/office/drawing/2014/main" id="{8618166F-85BD-4A56-9F93-0C023916D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7240" y="1593240"/>
              <a:ext cx="672624" cy="672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DC40755A-61D2-4D9C-87C7-A07AAA6E149C}"/>
                </a:ext>
              </a:extLst>
            </p:cNvPr>
            <p:cNvSpPr/>
            <p:nvPr/>
          </p:nvSpPr>
          <p:spPr>
            <a:xfrm>
              <a:off x="8347273" y="2640825"/>
              <a:ext cx="1527015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9" name="组合 58">
              <a:extLst>
                <a:ext uri="{FF2B5EF4-FFF2-40B4-BE49-F238E27FC236}">
                  <a16:creationId xmlns:a16="http://schemas.microsoft.com/office/drawing/2014/main" id="{7C7C3433-DA40-4577-9167-51FED8D856E3}"/>
                </a:ext>
              </a:extLst>
            </p:cNvPr>
            <p:cNvGrpSpPr/>
            <p:nvPr/>
          </p:nvGrpSpPr>
          <p:grpSpPr>
            <a:xfrm>
              <a:off x="8911804" y="2838334"/>
              <a:ext cx="316864" cy="445493"/>
              <a:chOff x="8911804" y="2899309"/>
              <a:chExt cx="316864" cy="445493"/>
            </a:xfrm>
          </p:grpSpPr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FEB56620-A125-4520-856B-BC2B42FA8A81}"/>
                  </a:ext>
                </a:extLst>
              </p:cNvPr>
              <p:cNvSpPr/>
              <p:nvPr/>
            </p:nvSpPr>
            <p:spPr>
              <a:xfrm rot="1668317">
                <a:off x="8911804" y="3181880"/>
                <a:ext cx="221361" cy="105466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22A7368B-7277-4515-B2D9-6EA4D1DD2609}"/>
                  </a:ext>
                </a:extLst>
              </p:cNvPr>
              <p:cNvSpPr/>
              <p:nvPr/>
            </p:nvSpPr>
            <p:spPr>
              <a:xfrm rot="17846275">
                <a:off x="8952307" y="3068442"/>
                <a:ext cx="445493" cy="10722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  <p:pic>
          <p:nvPicPr>
            <p:cNvPr id="60" name="图片 59">
              <a:extLst>
                <a:ext uri="{FF2B5EF4-FFF2-40B4-BE49-F238E27FC236}">
                  <a16:creationId xmlns:a16="http://schemas.microsoft.com/office/drawing/2014/main" id="{7668D989-E774-4482-83A0-EC60EA981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850063" y="4309218"/>
              <a:ext cx="498812" cy="498813"/>
            </a:xfrm>
            <a:prstGeom prst="rect">
              <a:avLst/>
            </a:prstGeom>
          </p:spPr>
        </p:pic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E536B194-C4B4-4086-9457-A77A2DA6D476}"/>
                </a:ext>
              </a:extLst>
            </p:cNvPr>
            <p:cNvSpPr txBox="1"/>
            <p:nvPr/>
          </p:nvSpPr>
          <p:spPr>
            <a:xfrm flipH="1">
              <a:off x="8571509" y="4792345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Touchpoint</a:t>
              </a: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D4DD91F0-EEE2-46D4-A6EB-D79567C2F73B}"/>
                </a:ext>
              </a:extLst>
            </p:cNvPr>
            <p:cNvSpPr/>
            <p:nvPr/>
          </p:nvSpPr>
          <p:spPr>
            <a:xfrm>
              <a:off x="8341596" y="4172337"/>
              <a:ext cx="1532692" cy="91849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748EE67A-266C-42BA-BC13-021F5C2F58EE}"/>
                </a:ext>
              </a:extLst>
            </p:cNvPr>
            <p:cNvSpPr/>
            <p:nvPr/>
          </p:nvSpPr>
          <p:spPr>
            <a:xfrm>
              <a:off x="8341596" y="5226265"/>
              <a:ext cx="1532691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mpaign related data</a:t>
              </a:r>
            </a:p>
          </p:txBody>
        </p:sp>
      </p:grp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428DB6C8-FC16-4D03-91E3-34BF9BA4D467}"/>
              </a:ext>
            </a:extLst>
          </p:cNvPr>
          <p:cNvGrpSpPr/>
          <p:nvPr/>
        </p:nvGrpSpPr>
        <p:grpSpPr>
          <a:xfrm>
            <a:off x="7114783" y="1096411"/>
            <a:ext cx="1055921" cy="5048350"/>
            <a:chOff x="6953913" y="1096411"/>
            <a:chExt cx="1055921" cy="5048350"/>
          </a:xfrm>
        </p:grpSpPr>
        <p:sp>
          <p:nvSpPr>
            <p:cNvPr id="67" name="矩形 66">
              <a:extLst>
                <a:ext uri="{FF2B5EF4-FFF2-40B4-BE49-F238E27FC236}">
                  <a16:creationId xmlns:a16="http://schemas.microsoft.com/office/drawing/2014/main" id="{87A99C91-4214-4F5B-9DBF-06FC7130829C}"/>
                </a:ext>
              </a:extLst>
            </p:cNvPr>
            <p:cNvSpPr/>
            <p:nvPr/>
          </p:nvSpPr>
          <p:spPr>
            <a:xfrm>
              <a:off x="6967304" y="1096411"/>
              <a:ext cx="1021536" cy="348815"/>
            </a:xfrm>
            <a:prstGeom prst="rect">
              <a:avLst/>
            </a:prstGeom>
            <a:solidFill>
              <a:schemeClr val="tx1"/>
            </a:solidFill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ll Center</a:t>
              </a:r>
            </a:p>
          </p:txBody>
        </p:sp>
        <p:pic>
          <p:nvPicPr>
            <p:cNvPr id="68" name="Picture 6">
              <a:extLst>
                <a:ext uri="{FF2B5EF4-FFF2-40B4-BE49-F238E27FC236}">
                  <a16:creationId xmlns:a16="http://schemas.microsoft.com/office/drawing/2014/main" id="{919827F3-ACC5-44DD-BDA6-A41B5F0F3B6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965" t="13269" r="25380" b="12375"/>
            <a:stretch/>
          </p:blipFill>
          <p:spPr bwMode="auto">
            <a:xfrm>
              <a:off x="7191590" y="1668246"/>
              <a:ext cx="607071" cy="5263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矩形 68">
              <a:extLst>
                <a:ext uri="{FF2B5EF4-FFF2-40B4-BE49-F238E27FC236}">
                  <a16:creationId xmlns:a16="http://schemas.microsoft.com/office/drawing/2014/main" id="{EBAB26C6-D869-4BD2-9AE3-AAF1D014834A}"/>
                </a:ext>
              </a:extLst>
            </p:cNvPr>
            <p:cNvSpPr/>
            <p:nvPr/>
          </p:nvSpPr>
          <p:spPr>
            <a:xfrm>
              <a:off x="6967304" y="1555916"/>
              <a:ext cx="1021536" cy="91849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7BCED5C3-F38A-434C-A5F0-1C9B453A912A}"/>
                </a:ext>
              </a:extLst>
            </p:cNvPr>
            <p:cNvSpPr txBox="1"/>
            <p:nvPr/>
          </p:nvSpPr>
          <p:spPr>
            <a:xfrm flipH="1">
              <a:off x="6953913" y="2179423"/>
              <a:ext cx="105592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UDESK</a:t>
              </a:r>
            </a:p>
          </p:txBody>
        </p:sp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0B9AF58C-1D9A-4C08-AE7A-D9B7AA47E3D6}"/>
                </a:ext>
              </a:extLst>
            </p:cNvPr>
            <p:cNvSpPr/>
            <p:nvPr/>
          </p:nvSpPr>
          <p:spPr>
            <a:xfrm>
              <a:off x="6961947" y="2640825"/>
              <a:ext cx="1023636" cy="785042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乘号 71">
              <a:extLst>
                <a:ext uri="{FF2B5EF4-FFF2-40B4-BE49-F238E27FC236}">
                  <a16:creationId xmlns:a16="http://schemas.microsoft.com/office/drawing/2014/main" id="{F88C33BC-3D39-4878-887F-E3323169D7A9}"/>
                </a:ext>
              </a:extLst>
            </p:cNvPr>
            <p:cNvSpPr/>
            <p:nvPr/>
          </p:nvSpPr>
          <p:spPr>
            <a:xfrm>
              <a:off x="7280467" y="2838334"/>
              <a:ext cx="388769" cy="419508"/>
            </a:xfrm>
            <a:prstGeom prst="mathMultiply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CF1B2B48-F6A9-41BC-8C04-0A219F8A5C64}"/>
                </a:ext>
              </a:extLst>
            </p:cNvPr>
            <p:cNvSpPr/>
            <p:nvPr/>
          </p:nvSpPr>
          <p:spPr>
            <a:xfrm>
              <a:off x="6961947" y="4172337"/>
              <a:ext cx="1023636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Five9</a:t>
              </a:r>
            </a:p>
          </p:txBody>
        </p:sp>
        <p:sp>
          <p:nvSpPr>
            <p:cNvPr id="74" name="流程图: 磁盘 73">
              <a:extLst>
                <a:ext uri="{FF2B5EF4-FFF2-40B4-BE49-F238E27FC236}">
                  <a16:creationId xmlns:a16="http://schemas.microsoft.com/office/drawing/2014/main" id="{F4A1745C-6526-4CAC-BB63-657BA2E8FE6B}"/>
                </a:ext>
              </a:extLst>
            </p:cNvPr>
            <p:cNvSpPr/>
            <p:nvPr/>
          </p:nvSpPr>
          <p:spPr>
            <a:xfrm>
              <a:off x="7230326" y="4343460"/>
              <a:ext cx="495488" cy="383049"/>
            </a:xfrm>
            <a:prstGeom prst="flowChartMagneticDisk">
              <a:avLst/>
            </a:prstGeom>
            <a:solidFill>
              <a:srgbClr val="FFC0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3005474B-EEEA-4673-9688-FFA6397766D4}"/>
                </a:ext>
              </a:extLst>
            </p:cNvPr>
            <p:cNvSpPr/>
            <p:nvPr/>
          </p:nvSpPr>
          <p:spPr>
            <a:xfrm>
              <a:off x="6961947" y="5226265"/>
              <a:ext cx="1023636" cy="918496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9998" marR="0" lvl="0" indent="-89998" algn="l" defTabSz="1219139" rtl="0" eaLnBrk="1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all Center</a:t>
              </a:r>
            </a:p>
          </p:txBody>
        </p:sp>
      </p:grpSp>
      <p:sp>
        <p:nvSpPr>
          <p:cNvPr id="77" name="矩形 76">
            <a:extLst>
              <a:ext uri="{FF2B5EF4-FFF2-40B4-BE49-F238E27FC236}">
                <a16:creationId xmlns:a16="http://schemas.microsoft.com/office/drawing/2014/main" id="{96A4FFDB-0650-41F9-9CBC-674E3CD282F6}"/>
              </a:ext>
            </a:extLst>
          </p:cNvPr>
          <p:cNvSpPr/>
          <p:nvPr/>
        </p:nvSpPr>
        <p:spPr>
          <a:xfrm>
            <a:off x="2893250" y="1096411"/>
            <a:ext cx="1845082" cy="348815"/>
          </a:xfrm>
          <a:prstGeom prst="rect">
            <a:avLst/>
          </a:prstGeom>
          <a:solidFill>
            <a:schemeClr val="tx1"/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Indirect Market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AD54E8F0-1AC0-44FF-8693-476A67564AB5}"/>
              </a:ext>
            </a:extLst>
          </p:cNvPr>
          <p:cNvSpPr/>
          <p:nvPr/>
        </p:nvSpPr>
        <p:spPr>
          <a:xfrm>
            <a:off x="2893250" y="5226265"/>
            <a:ext cx="1845082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9998" marR="0" lvl="0" indent="-89998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ERP</a:t>
            </a:r>
          </a:p>
          <a:p>
            <a:pPr marL="89998" marR="0" lvl="0" indent="-89998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Zoetis &gt; Distributor</a:t>
            </a:r>
          </a:p>
          <a:p>
            <a:pPr marL="0" marR="0" lvl="0" indent="0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Order Level)</a:t>
            </a:r>
          </a:p>
          <a:p>
            <a:pPr marL="89998" marR="0" lvl="0" indent="-89998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Distributor &gt; Customer</a:t>
            </a:r>
          </a:p>
          <a:p>
            <a:pPr marL="0" marR="0" lvl="0" indent="0" algn="l" defTabSz="1219139" rtl="0" eaLnBrk="1" fontAlgn="auto" latinLnBrk="0" hangingPunct="0">
              <a:lnSpc>
                <a:spcPts val="8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Aggregated to Daily Level)</a:t>
            </a: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3453B178-6267-4607-BBA6-5E109C5F7282}"/>
              </a:ext>
            </a:extLst>
          </p:cNvPr>
          <p:cNvSpPr/>
          <p:nvPr/>
        </p:nvSpPr>
        <p:spPr>
          <a:xfrm>
            <a:off x="2893250" y="4172337"/>
            <a:ext cx="1841696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AB72BB55-313B-4EF2-A166-5B12F2DB20B7}"/>
              </a:ext>
            </a:extLst>
          </p:cNvPr>
          <p:cNvSpPr/>
          <p:nvPr/>
        </p:nvSpPr>
        <p:spPr>
          <a:xfrm>
            <a:off x="2893250" y="1555917"/>
            <a:ext cx="877800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Ufida</a:t>
            </a:r>
            <a:endParaRPr kumimoji="0" lang="en-US" altLang="zh-CN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Zoetis to Distributor)</a:t>
            </a: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5F76BA95-4CB3-4BE5-B7B8-D7F2A6AA6602}"/>
              </a:ext>
            </a:extLst>
          </p:cNvPr>
          <p:cNvSpPr/>
          <p:nvPr/>
        </p:nvSpPr>
        <p:spPr>
          <a:xfrm>
            <a:off x="3817386" y="1555917"/>
            <a:ext cx="912043" cy="91849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QTData</a:t>
            </a:r>
            <a:endParaRPr kumimoji="0" lang="en-US" altLang="zh-CN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(Distributor to customer)</a:t>
            </a: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流程图: 磁盘 81">
            <a:extLst>
              <a:ext uri="{FF2B5EF4-FFF2-40B4-BE49-F238E27FC236}">
                <a16:creationId xmlns:a16="http://schemas.microsoft.com/office/drawing/2014/main" id="{8467E96C-406D-4BC6-87FF-116A148DEB81}"/>
              </a:ext>
            </a:extLst>
          </p:cNvPr>
          <p:cNvSpPr/>
          <p:nvPr/>
        </p:nvSpPr>
        <p:spPr>
          <a:xfrm>
            <a:off x="3991733" y="1602165"/>
            <a:ext cx="495488" cy="383049"/>
          </a:xfrm>
          <a:prstGeom prst="flowChartMagneticDisk">
            <a:avLst/>
          </a:prstGeom>
          <a:solidFill>
            <a:schemeClr val="accent6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576E9455-847A-4724-B11E-5D0118B6D4FF}"/>
              </a:ext>
            </a:extLst>
          </p:cNvPr>
          <p:cNvSpPr/>
          <p:nvPr/>
        </p:nvSpPr>
        <p:spPr>
          <a:xfrm>
            <a:off x="2893250" y="2640825"/>
            <a:ext cx="863680" cy="78504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D1E05B40-CA05-4E19-B1B6-B94CC7C548FA}"/>
              </a:ext>
            </a:extLst>
          </p:cNvPr>
          <p:cNvSpPr/>
          <p:nvPr/>
        </p:nvSpPr>
        <p:spPr>
          <a:xfrm>
            <a:off x="3817386" y="2640825"/>
            <a:ext cx="912043" cy="78504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933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3ED10C79-72B4-406A-81D6-73B439C3BE0B}"/>
              </a:ext>
            </a:extLst>
          </p:cNvPr>
          <p:cNvGrpSpPr/>
          <p:nvPr/>
        </p:nvGrpSpPr>
        <p:grpSpPr>
          <a:xfrm>
            <a:off x="4072578" y="2838334"/>
            <a:ext cx="316864" cy="445493"/>
            <a:chOff x="5385046" y="2195322"/>
            <a:chExt cx="344416" cy="482204"/>
          </a:xfrm>
        </p:grpSpPr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80BDA936-01BB-433F-80C6-1F0D03155179}"/>
                </a:ext>
              </a:extLst>
            </p:cNvPr>
            <p:cNvSpPr/>
            <p:nvPr/>
          </p:nvSpPr>
          <p:spPr>
            <a:xfrm rot="1668317">
              <a:off x="5385046" y="2501177"/>
              <a:ext cx="240609" cy="11415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27346E14-DFDC-440C-9909-5C47EDF123D9}"/>
                </a:ext>
              </a:extLst>
            </p:cNvPr>
            <p:cNvSpPr/>
            <p:nvPr/>
          </p:nvSpPr>
          <p:spPr>
            <a:xfrm rot="17846275">
              <a:off x="5430084" y="2378148"/>
              <a:ext cx="482204" cy="11655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47AC8C68-41B4-49B9-9F3C-46EE4526B753}"/>
              </a:ext>
            </a:extLst>
          </p:cNvPr>
          <p:cNvGrpSpPr/>
          <p:nvPr/>
        </p:nvGrpSpPr>
        <p:grpSpPr>
          <a:xfrm>
            <a:off x="3132891" y="2838334"/>
            <a:ext cx="316864" cy="445493"/>
            <a:chOff x="3031290" y="2843312"/>
            <a:chExt cx="316864" cy="445493"/>
          </a:xfrm>
        </p:grpSpPr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4CEE80F7-796C-4AE6-AD66-B014B6FAB459}"/>
                </a:ext>
              </a:extLst>
            </p:cNvPr>
            <p:cNvSpPr/>
            <p:nvPr/>
          </p:nvSpPr>
          <p:spPr>
            <a:xfrm rot="1668317">
              <a:off x="3031290" y="3125883"/>
              <a:ext cx="221361" cy="105466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0" name="矩形 89">
              <a:extLst>
                <a:ext uri="{FF2B5EF4-FFF2-40B4-BE49-F238E27FC236}">
                  <a16:creationId xmlns:a16="http://schemas.microsoft.com/office/drawing/2014/main" id="{B504E4E0-62A8-4BCB-9F89-A1FB10BE059F}"/>
                </a:ext>
              </a:extLst>
            </p:cNvPr>
            <p:cNvSpPr/>
            <p:nvPr/>
          </p:nvSpPr>
          <p:spPr>
            <a:xfrm rot="17846275">
              <a:off x="3071793" y="3012445"/>
              <a:ext cx="445493" cy="10722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pic>
        <p:nvPicPr>
          <p:cNvPr id="88" name="Picture 8">
            <a:extLst>
              <a:ext uri="{FF2B5EF4-FFF2-40B4-BE49-F238E27FC236}">
                <a16:creationId xmlns:a16="http://schemas.microsoft.com/office/drawing/2014/main" id="{58A5AFF2-F24D-4431-B0DA-F465755549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1353" y="1678242"/>
            <a:ext cx="773739" cy="19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4" name="Straight Connector 6">
            <a:extLst>
              <a:ext uri="{FF2B5EF4-FFF2-40B4-BE49-F238E27FC236}">
                <a16:creationId xmlns:a16="http://schemas.microsoft.com/office/drawing/2014/main" id="{969E9E3B-B724-4034-8510-658830D85ED3}"/>
              </a:ext>
            </a:extLst>
          </p:cNvPr>
          <p:cNvCxnSpPr>
            <a:cxnSpLocks/>
          </p:cNvCxnSpPr>
          <p:nvPr/>
        </p:nvCxnSpPr>
        <p:spPr>
          <a:xfrm>
            <a:off x="305333" y="3805646"/>
            <a:ext cx="11522600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流程图: 磁盘 92">
            <a:extLst>
              <a:ext uri="{FF2B5EF4-FFF2-40B4-BE49-F238E27FC236}">
                <a16:creationId xmlns:a16="http://schemas.microsoft.com/office/drawing/2014/main" id="{CC5C8AAF-5DC6-4F65-8DA2-23ED4FBE3242}"/>
              </a:ext>
            </a:extLst>
          </p:cNvPr>
          <p:cNvSpPr/>
          <p:nvPr/>
        </p:nvSpPr>
        <p:spPr>
          <a:xfrm>
            <a:off x="3546363" y="4318060"/>
            <a:ext cx="495488" cy="383049"/>
          </a:xfrm>
          <a:prstGeom prst="flowChartMagneticDisk">
            <a:avLst/>
          </a:prstGeom>
          <a:solidFill>
            <a:srgbClr val="01516F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ED367454-57AF-4D86-9696-1187C275BFA6}"/>
              </a:ext>
            </a:extLst>
          </p:cNvPr>
          <p:cNvSpPr txBox="1"/>
          <p:nvPr/>
        </p:nvSpPr>
        <p:spPr>
          <a:xfrm flipH="1">
            <a:off x="3189637" y="4796746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RDM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332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Attribute Comparis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235A2AC8-C7D9-47EA-B000-EE812D2B0C34}"/>
              </a:ext>
            </a:extLst>
          </p:cNvPr>
          <p:cNvGrpSpPr/>
          <p:nvPr/>
        </p:nvGrpSpPr>
        <p:grpSpPr>
          <a:xfrm>
            <a:off x="260623" y="871401"/>
            <a:ext cx="11575777" cy="5732598"/>
            <a:chOff x="463823" y="820601"/>
            <a:chExt cx="11575777" cy="5732598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F7C62F9D-D654-40A8-A3F9-83EDD819F3CA}"/>
                </a:ext>
              </a:extLst>
            </p:cNvPr>
            <p:cNvGrpSpPr/>
            <p:nvPr/>
          </p:nvGrpSpPr>
          <p:grpSpPr>
            <a:xfrm>
              <a:off x="463823" y="820601"/>
              <a:ext cx="3073400" cy="5732598"/>
              <a:chOff x="560923" y="1061901"/>
              <a:chExt cx="3365893" cy="6263125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D78C611D-15A2-439D-A61F-C0517C5BE896}"/>
                  </a:ext>
                </a:extLst>
              </p:cNvPr>
              <p:cNvSpPr/>
              <p:nvPr/>
            </p:nvSpPr>
            <p:spPr>
              <a:xfrm>
                <a:off x="560923" y="1320800"/>
                <a:ext cx="3365893" cy="600422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20" name="矩形: 圆角 19">
                <a:extLst>
                  <a:ext uri="{FF2B5EF4-FFF2-40B4-BE49-F238E27FC236}">
                    <a16:creationId xmlns:a16="http://schemas.microsoft.com/office/drawing/2014/main" id="{37BDD924-F26D-4B86-A4C6-5D603949AF8F}"/>
                  </a:ext>
                </a:extLst>
              </p:cNvPr>
              <p:cNvSpPr/>
              <p:nvPr/>
            </p:nvSpPr>
            <p:spPr>
              <a:xfrm>
                <a:off x="736805" y="1061901"/>
                <a:ext cx="3014130" cy="423999"/>
              </a:xfrm>
              <a:prstGeom prst="round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lobal DDP Table Structure</a:t>
                </a: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FDCFDC23-C722-4D76-A7E0-11FABD81B577}"/>
                </a:ext>
              </a:extLst>
            </p:cNvPr>
            <p:cNvGrpSpPr/>
            <p:nvPr/>
          </p:nvGrpSpPr>
          <p:grpSpPr>
            <a:xfrm>
              <a:off x="8953500" y="820601"/>
              <a:ext cx="3086100" cy="5732597"/>
              <a:chOff x="558803" y="1061901"/>
              <a:chExt cx="3192338" cy="6263123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56E2CD46-F6A3-4339-8509-F1C8DF674FC6}"/>
                  </a:ext>
                </a:extLst>
              </p:cNvPr>
              <p:cNvSpPr/>
              <p:nvPr/>
            </p:nvSpPr>
            <p:spPr>
              <a:xfrm>
                <a:off x="558803" y="1320800"/>
                <a:ext cx="3192338" cy="600422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 dirty="0"/>
              </a:p>
            </p:txBody>
          </p:sp>
          <p:sp>
            <p:nvSpPr>
              <p:cNvPr id="25" name="矩形: 圆角 24">
                <a:extLst>
                  <a:ext uri="{FF2B5EF4-FFF2-40B4-BE49-F238E27FC236}">
                    <a16:creationId xmlns:a16="http://schemas.microsoft.com/office/drawing/2014/main" id="{407B8F50-BEFE-443C-B452-853020531493}"/>
                  </a:ext>
                </a:extLst>
              </p:cNvPr>
              <p:cNvSpPr/>
              <p:nvPr/>
            </p:nvSpPr>
            <p:spPr>
              <a:xfrm>
                <a:off x="736805" y="1061901"/>
                <a:ext cx="2806496" cy="423999"/>
              </a:xfrm>
              <a:prstGeom prst="round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ina DDP Table Structure</a:t>
                </a:r>
              </a:p>
            </p:txBody>
          </p:sp>
        </p:grpSp>
        <p:grpSp>
          <p:nvGrpSpPr>
            <p:cNvPr id="26" name="组合 25">
              <a:extLst>
                <a:ext uri="{FF2B5EF4-FFF2-40B4-BE49-F238E27FC236}">
                  <a16:creationId xmlns:a16="http://schemas.microsoft.com/office/drawing/2014/main" id="{A059E824-77A1-4CF1-94E2-E2187B62C0D7}"/>
                </a:ext>
              </a:extLst>
            </p:cNvPr>
            <p:cNvGrpSpPr/>
            <p:nvPr/>
          </p:nvGrpSpPr>
          <p:grpSpPr>
            <a:xfrm>
              <a:off x="4099569" y="820601"/>
              <a:ext cx="4289869" cy="5732597"/>
              <a:chOff x="560923" y="1061901"/>
              <a:chExt cx="3365893" cy="6263123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9010C05B-35F7-48A3-B326-6471D7CDFACC}"/>
                  </a:ext>
                </a:extLst>
              </p:cNvPr>
              <p:cNvSpPr/>
              <p:nvPr/>
            </p:nvSpPr>
            <p:spPr>
              <a:xfrm>
                <a:off x="560923" y="1320799"/>
                <a:ext cx="3365893" cy="6004225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" name="矩形: 圆角 27">
                <a:extLst>
                  <a:ext uri="{FF2B5EF4-FFF2-40B4-BE49-F238E27FC236}">
                    <a16:creationId xmlns:a16="http://schemas.microsoft.com/office/drawing/2014/main" id="{F870CCDB-D418-42FB-9ADD-C2E397F4759E}"/>
                  </a:ext>
                </a:extLst>
              </p:cNvPr>
              <p:cNvSpPr/>
              <p:nvPr/>
            </p:nvSpPr>
            <p:spPr>
              <a:xfrm>
                <a:off x="736805" y="1061901"/>
                <a:ext cx="3014130" cy="423999"/>
              </a:xfrm>
              <a:prstGeom prst="roundRect">
                <a:avLst/>
              </a:prstGeom>
              <a:solidFill>
                <a:srgbClr val="F65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nal Mapping Logic</a:t>
                </a:r>
              </a:p>
            </p:txBody>
          </p:sp>
        </p:grpSp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D80AA745-1162-4628-B0BB-92E459B57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4421" y="1303405"/>
              <a:ext cx="2807699" cy="4065449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31CAC484-91C6-4B4A-A854-68BF9849E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099687" y="1363801"/>
              <a:ext cx="2784431" cy="4010170"/>
            </a:xfrm>
            <a:prstGeom prst="rect">
              <a:avLst/>
            </a:prstGeom>
          </p:spPr>
        </p:pic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89BCD987-26CC-4892-9A9F-36F3EED9DD76}"/>
                </a:ext>
              </a:extLst>
            </p:cNvPr>
            <p:cNvGrpSpPr/>
            <p:nvPr/>
          </p:nvGrpSpPr>
          <p:grpSpPr>
            <a:xfrm>
              <a:off x="3606799" y="2362200"/>
              <a:ext cx="454669" cy="1511151"/>
              <a:chOff x="3606799" y="2603500"/>
              <a:chExt cx="454669" cy="1651001"/>
            </a:xfrm>
          </p:grpSpPr>
          <p:sp>
            <p:nvSpPr>
              <p:cNvPr id="29" name="箭头: 右 28">
                <a:extLst>
                  <a:ext uri="{FF2B5EF4-FFF2-40B4-BE49-F238E27FC236}">
                    <a16:creationId xmlns:a16="http://schemas.microsoft.com/office/drawing/2014/main" id="{C2B254C5-F589-4420-A401-D6C33EB78551}"/>
                  </a:ext>
                </a:extLst>
              </p:cNvPr>
              <p:cNvSpPr/>
              <p:nvPr/>
            </p:nvSpPr>
            <p:spPr>
              <a:xfrm>
                <a:off x="3606799" y="2603500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" name="箭头: 右 29">
                <a:extLst>
                  <a:ext uri="{FF2B5EF4-FFF2-40B4-BE49-F238E27FC236}">
                    <a16:creationId xmlns:a16="http://schemas.microsoft.com/office/drawing/2014/main" id="{EDA1CDC8-7C80-4EAF-A9C5-1BDC442F42C2}"/>
                  </a:ext>
                </a:extLst>
              </p:cNvPr>
              <p:cNvSpPr/>
              <p:nvPr/>
            </p:nvSpPr>
            <p:spPr>
              <a:xfrm>
                <a:off x="3606799" y="3922102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C7C3B866-6B17-46CD-9334-D4558A433546}"/>
                </a:ext>
              </a:extLst>
            </p:cNvPr>
            <p:cNvGrpSpPr/>
            <p:nvPr/>
          </p:nvGrpSpPr>
          <p:grpSpPr>
            <a:xfrm rot="10800000">
              <a:off x="8433773" y="2362198"/>
              <a:ext cx="454669" cy="1511151"/>
              <a:chOff x="3606799" y="2603500"/>
              <a:chExt cx="454669" cy="1651001"/>
            </a:xfrm>
          </p:grpSpPr>
          <p:sp>
            <p:nvSpPr>
              <p:cNvPr id="33" name="箭头: 右 32">
                <a:extLst>
                  <a:ext uri="{FF2B5EF4-FFF2-40B4-BE49-F238E27FC236}">
                    <a16:creationId xmlns:a16="http://schemas.microsoft.com/office/drawing/2014/main" id="{9F0C32BE-E92E-4146-93CD-7982E63E79E4}"/>
                  </a:ext>
                </a:extLst>
              </p:cNvPr>
              <p:cNvSpPr/>
              <p:nvPr/>
            </p:nvSpPr>
            <p:spPr>
              <a:xfrm>
                <a:off x="3606799" y="2603500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箭头: 右 33">
                <a:extLst>
                  <a:ext uri="{FF2B5EF4-FFF2-40B4-BE49-F238E27FC236}">
                    <a16:creationId xmlns:a16="http://schemas.microsoft.com/office/drawing/2014/main" id="{AFAF073F-30C6-4DDE-BD8F-BBC3CE57791B}"/>
                  </a:ext>
                </a:extLst>
              </p:cNvPr>
              <p:cNvSpPr/>
              <p:nvPr/>
            </p:nvSpPr>
            <p:spPr>
              <a:xfrm>
                <a:off x="3606799" y="3922102"/>
                <a:ext cx="454669" cy="332399"/>
              </a:xfrm>
              <a:prstGeom prst="rightArrow">
                <a:avLst/>
              </a:prstGeom>
              <a:solidFill>
                <a:srgbClr val="F65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38" name="图片 37">
              <a:extLst>
                <a:ext uri="{FF2B5EF4-FFF2-40B4-BE49-F238E27FC236}">
                  <a16:creationId xmlns:a16="http://schemas.microsoft.com/office/drawing/2014/main" id="{57436CEA-1788-471C-851D-B4B9463A8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432546" y="1262618"/>
              <a:ext cx="3623914" cy="4172144"/>
            </a:xfrm>
            <a:prstGeom prst="rect">
              <a:avLst/>
            </a:prstGeom>
          </p:spPr>
        </p:pic>
      </p:grpSp>
      <p:sp>
        <p:nvSpPr>
          <p:cNvPr id="42" name="TextBox 34">
            <a:extLst>
              <a:ext uri="{FF2B5EF4-FFF2-40B4-BE49-F238E27FC236}">
                <a16:creationId xmlns:a16="http://schemas.microsoft.com/office/drawing/2014/main" id="{DE1CDEA0-CA1F-48A0-9CD4-EA5C53A13B76}"/>
              </a:ext>
            </a:extLst>
          </p:cNvPr>
          <p:cNvSpPr txBox="1"/>
          <p:nvPr/>
        </p:nvSpPr>
        <p:spPr>
          <a:xfrm>
            <a:off x="363606" y="5577874"/>
            <a:ext cx="2873320" cy="11071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ble Structure on Global DDP. </a:t>
            </a: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US" sz="600" dirty="0">
              <a:solidFill>
                <a:srgbClr val="595756"/>
              </a:solidFill>
              <a:latin typeface="Arial"/>
            </a:endParaRP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r Target is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build exactly same structu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ables on China DDP and generate data.</a:t>
            </a:r>
          </a:p>
        </p:txBody>
      </p:sp>
      <p:sp>
        <p:nvSpPr>
          <p:cNvPr id="43" name="TextBox 34">
            <a:extLst>
              <a:ext uri="{FF2B5EF4-FFF2-40B4-BE49-F238E27FC236}">
                <a16:creationId xmlns:a16="http://schemas.microsoft.com/office/drawing/2014/main" id="{E9ED4671-21B2-4366-9D8D-06BC2DC67753}"/>
              </a:ext>
            </a:extLst>
          </p:cNvPr>
          <p:cNvSpPr txBox="1"/>
          <p:nvPr/>
        </p:nvSpPr>
        <p:spPr>
          <a:xfrm>
            <a:off x="8902575" y="5577874"/>
            <a:ext cx="3028802" cy="7447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rgbClr val="595756"/>
                </a:solidFill>
                <a:latin typeface="Arial"/>
              </a:rPr>
              <a:t>Current table structure on China DDP of same data module</a:t>
            </a: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dirty="0">
                <a:solidFill>
                  <a:srgbClr val="595756"/>
                </a:solidFill>
                <a:latin typeface="Arial"/>
              </a:rPr>
              <a:t>Difference caused by source system and sales mode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75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34">
            <a:extLst>
              <a:ext uri="{FF2B5EF4-FFF2-40B4-BE49-F238E27FC236}">
                <a16:creationId xmlns:a16="http://schemas.microsoft.com/office/drawing/2014/main" id="{94A6D117-6137-43D3-BACB-536C68C813D7}"/>
              </a:ext>
            </a:extLst>
          </p:cNvPr>
          <p:cNvSpPr txBox="1"/>
          <p:nvPr/>
        </p:nvSpPr>
        <p:spPr>
          <a:xfrm>
            <a:off x="4056966" y="5577874"/>
            <a:ext cx="3905110" cy="11071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gure ou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ormation logic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China DDP structure to Global 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 DDP structure</a:t>
            </a:r>
          </a:p>
          <a:p>
            <a:pPr marL="285750" marR="0" lvl="0" indent="-28575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id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ac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 on comparison result – Integrate new data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/</a:t>
            </a:r>
            <a:r>
              <a:rPr lang="zh-CN" altLang="en-US" sz="1400" dirty="0">
                <a:solidFill>
                  <a:srgbClr val="595756"/>
                </a:solidFill>
                <a:latin typeface="Arial"/>
              </a:rPr>
              <a:t> </a:t>
            </a:r>
            <a:r>
              <a:rPr lang="en-US" altLang="zh-CN" sz="1400" dirty="0">
                <a:solidFill>
                  <a:srgbClr val="595756"/>
                </a:solidFill>
                <a:latin typeface="Arial"/>
              </a:rPr>
              <a:t>remain miss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132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Data Cleansing and Me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668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Data Quality Check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617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Sales Mode and Source System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0EB453F2-795A-42BB-AFA1-9D9C8293B94F}"/>
              </a:ext>
            </a:extLst>
          </p:cNvPr>
          <p:cNvSpPr/>
          <p:nvPr/>
        </p:nvSpPr>
        <p:spPr>
          <a:xfrm>
            <a:off x="449139" y="1172864"/>
            <a:ext cx="10993561" cy="1100436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013A6ACF-B90A-4A9C-B753-6E003BE03BEA}"/>
              </a:ext>
            </a:extLst>
          </p:cNvPr>
          <p:cNvSpPr/>
          <p:nvPr/>
        </p:nvSpPr>
        <p:spPr>
          <a:xfrm>
            <a:off x="9314620" y="105923"/>
            <a:ext cx="2331280" cy="822093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to be optimized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16B850A-6CBE-41E6-BD76-7765F7E4F784}"/>
              </a:ext>
            </a:extLst>
          </p:cNvPr>
          <p:cNvSpPr/>
          <p:nvPr/>
        </p:nvSpPr>
        <p:spPr>
          <a:xfrm>
            <a:off x="1003300" y="917948"/>
            <a:ext cx="2120900" cy="495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rgbClr val="658E49"/>
                </a:solidFill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Sales Mode</a:t>
            </a:r>
            <a:endParaRPr lang="zh-CN" altLang="en-US" sz="2400" b="1" dirty="0">
              <a:solidFill>
                <a:srgbClr val="658E49"/>
              </a:solidFill>
              <a:latin typeface="Arial"/>
              <a:ea typeface="等线 Light" panose="02010600030101010101" pitchFamily="2" charset="-122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B500A58-EBA1-4145-8706-9769D184315E}"/>
              </a:ext>
            </a:extLst>
          </p:cNvPr>
          <p:cNvSpPr/>
          <p:nvPr/>
        </p:nvSpPr>
        <p:spPr>
          <a:xfrm>
            <a:off x="1206500" y="1515306"/>
            <a:ext cx="4267200" cy="495300"/>
          </a:xfrm>
          <a:prstGeom prst="rect">
            <a:avLst/>
          </a:prstGeom>
          <a:solidFill>
            <a:srgbClr val="658E49"/>
          </a:solidFill>
          <a:ln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or Sell-In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A0E8903D-DFCE-4D6B-BD13-45AEF1A5A294}"/>
              </a:ext>
            </a:extLst>
          </p:cNvPr>
          <p:cNvSpPr/>
          <p:nvPr/>
        </p:nvSpPr>
        <p:spPr>
          <a:xfrm>
            <a:off x="6337300" y="1515306"/>
            <a:ext cx="4267200" cy="495300"/>
          </a:xfrm>
          <a:prstGeom prst="rect">
            <a:avLst/>
          </a:prstGeom>
          <a:solidFill>
            <a:srgbClr val="658E49"/>
          </a:solidFill>
          <a:ln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or Sell-Out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FD28FE1A-63AD-4C8B-9A90-22C2F50E30DA}"/>
              </a:ext>
            </a:extLst>
          </p:cNvPr>
          <p:cNvSpPr/>
          <p:nvPr/>
        </p:nvSpPr>
        <p:spPr>
          <a:xfrm>
            <a:off x="449139" y="2762994"/>
            <a:ext cx="10993561" cy="1100436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DEC6F3FB-BF81-4233-8F50-0B8842741BFE}"/>
              </a:ext>
            </a:extLst>
          </p:cNvPr>
          <p:cNvSpPr/>
          <p:nvPr/>
        </p:nvSpPr>
        <p:spPr>
          <a:xfrm>
            <a:off x="1003300" y="2584278"/>
            <a:ext cx="4025900" cy="33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rgbClr val="01516F"/>
                </a:solidFill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orresponding system</a:t>
            </a:r>
            <a:endParaRPr lang="zh-CN" altLang="en-US" sz="2400" b="1" dirty="0">
              <a:solidFill>
                <a:srgbClr val="01516F"/>
              </a:solidFill>
              <a:latin typeface="Arial"/>
              <a:ea typeface="等线 Light" panose="02010600030101010101" pitchFamily="2" charset="-122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8D05BF6-890B-4065-A629-9B06ED1E5E91}"/>
              </a:ext>
            </a:extLst>
          </p:cNvPr>
          <p:cNvSpPr/>
          <p:nvPr/>
        </p:nvSpPr>
        <p:spPr>
          <a:xfrm>
            <a:off x="1206500" y="3105436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id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C3716C10-FA93-440F-93A5-5EC30ACCA3E6}"/>
              </a:ext>
            </a:extLst>
          </p:cNvPr>
          <p:cNvSpPr/>
          <p:nvPr/>
        </p:nvSpPr>
        <p:spPr>
          <a:xfrm>
            <a:off x="6337300" y="3105436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Dat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EF5F367C-D72C-4BAB-BEF8-DF3548003B8A}"/>
              </a:ext>
            </a:extLst>
          </p:cNvPr>
          <p:cNvSpPr/>
          <p:nvPr/>
        </p:nvSpPr>
        <p:spPr>
          <a:xfrm>
            <a:off x="449139" y="4280358"/>
            <a:ext cx="10993561" cy="1100436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72D8BEBB-A1DA-4E72-B730-5DC911C69AFE}"/>
              </a:ext>
            </a:extLst>
          </p:cNvPr>
          <p:cNvSpPr/>
          <p:nvPr/>
        </p:nvSpPr>
        <p:spPr>
          <a:xfrm>
            <a:off x="1003300" y="4101642"/>
            <a:ext cx="4025900" cy="33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rgbClr val="01516F"/>
                </a:solidFill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orresponding system</a:t>
            </a:r>
            <a:endParaRPr lang="zh-CN" altLang="en-US" sz="2400" b="1" dirty="0">
              <a:solidFill>
                <a:srgbClr val="01516F"/>
              </a:solidFill>
              <a:latin typeface="Arial"/>
              <a:ea typeface="等线 Light" panose="02010600030101010101" pitchFamily="2" charset="-122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57E31162-FD91-49EB-A31B-9E619F2D923A}"/>
              </a:ext>
            </a:extLst>
          </p:cNvPr>
          <p:cNvSpPr/>
          <p:nvPr/>
        </p:nvSpPr>
        <p:spPr>
          <a:xfrm>
            <a:off x="1206500" y="4622800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id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3CD117B-29F3-474F-917C-FE8C3A281D06}"/>
              </a:ext>
            </a:extLst>
          </p:cNvPr>
          <p:cNvSpPr/>
          <p:nvPr/>
        </p:nvSpPr>
        <p:spPr>
          <a:xfrm>
            <a:off x="6337300" y="4622800"/>
            <a:ext cx="4267200" cy="495300"/>
          </a:xfrm>
          <a:prstGeom prst="rect">
            <a:avLst/>
          </a:prstGeom>
          <a:solidFill>
            <a:srgbClr val="01516F"/>
          </a:solidFill>
          <a:ln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Data</a:t>
            </a:r>
            <a:endParaRPr lang="zh-CN" alt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182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矩形 77">
            <a:extLst>
              <a:ext uri="{FF2B5EF4-FFF2-40B4-BE49-F238E27FC236}">
                <a16:creationId xmlns:a16="http://schemas.microsoft.com/office/drawing/2014/main" id="{84FC0E13-9665-4EF8-8F0C-5553CD88BD03}"/>
              </a:ext>
            </a:extLst>
          </p:cNvPr>
          <p:cNvSpPr/>
          <p:nvPr/>
        </p:nvSpPr>
        <p:spPr>
          <a:xfrm>
            <a:off x="2732926" y="2434992"/>
            <a:ext cx="2219218" cy="3750051"/>
          </a:xfrm>
          <a:prstGeom prst="rect">
            <a:avLst/>
          </a:prstGeom>
          <a:solidFill>
            <a:schemeClr val="bg1">
              <a:lumMod val="75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Current Stag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182C5516-ECC8-4155-B02C-DB7C80870C43}"/>
              </a:ext>
            </a:extLst>
          </p:cNvPr>
          <p:cNvSpPr/>
          <p:nvPr/>
        </p:nvSpPr>
        <p:spPr>
          <a:xfrm>
            <a:off x="681570" y="2085703"/>
            <a:ext cx="1452032" cy="698578"/>
          </a:xfrm>
          <a:prstGeom prst="roundRect">
            <a:avLst/>
          </a:prstGeom>
          <a:solidFill>
            <a:srgbClr val="658E49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DDP</a:t>
            </a:r>
          </a:p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endParaRPr lang="zh-C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22BCE8A4-CFB2-49D8-906E-7E10F182F9E8}"/>
              </a:ext>
            </a:extLst>
          </p:cNvPr>
          <p:cNvSpPr/>
          <p:nvPr/>
        </p:nvSpPr>
        <p:spPr>
          <a:xfrm>
            <a:off x="681570" y="4875098"/>
            <a:ext cx="1452032" cy="698578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chpoint</a:t>
            </a:r>
          </a:p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endParaRPr lang="zh-CN" alt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B74426B0-39C4-45DD-ABC7-79CFE39944ED}"/>
              </a:ext>
            </a:extLst>
          </p:cNvPr>
          <p:cNvSpPr/>
          <p:nvPr/>
        </p:nvSpPr>
        <p:spPr>
          <a:xfrm>
            <a:off x="2855580" y="1554462"/>
            <a:ext cx="1894111" cy="70222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 Data</a:t>
            </a:r>
          </a:p>
          <a:p>
            <a:pPr algn="ctr"/>
            <a:r>
              <a:rPr lang="en-US" altLang="zh-CN" sz="1400" b="1" dirty="0">
                <a:solidFill>
                  <a:srgbClr val="658E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urrently working on)</a:t>
            </a:r>
            <a:endParaRPr lang="zh-CN" altLang="en-US" sz="1400" b="1" dirty="0">
              <a:solidFill>
                <a:srgbClr val="658E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8289FEB7-1118-4E1C-989E-492B6F5A9C2D}"/>
              </a:ext>
            </a:extLst>
          </p:cNvPr>
          <p:cNvSpPr/>
          <p:nvPr/>
        </p:nvSpPr>
        <p:spPr>
          <a:xfrm>
            <a:off x="2855580" y="258491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E225C4-417C-4A95-BC51-4D3BD9C9C226}"/>
              </a:ext>
            </a:extLst>
          </p:cNvPr>
          <p:cNvSpPr/>
          <p:nvPr/>
        </p:nvSpPr>
        <p:spPr>
          <a:xfrm>
            <a:off x="2855580" y="3111258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Center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7FCDA9C3-D531-455D-AD8C-BF12DECAB5B2}"/>
              </a:ext>
            </a:extLst>
          </p:cNvPr>
          <p:cNvSpPr/>
          <p:nvPr/>
        </p:nvSpPr>
        <p:spPr>
          <a:xfrm>
            <a:off x="2855580" y="3645030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…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3C66ECC8-9B8E-41F0-8C78-E4408C7C4E31}"/>
              </a:ext>
            </a:extLst>
          </p:cNvPr>
          <p:cNvSpPr/>
          <p:nvPr/>
        </p:nvSpPr>
        <p:spPr>
          <a:xfrm>
            <a:off x="2855580" y="460131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paign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D0F11858-EFBA-4EE7-8BD9-BB83CE1EA659}"/>
              </a:ext>
            </a:extLst>
          </p:cNvPr>
          <p:cNvSpPr/>
          <p:nvPr/>
        </p:nvSpPr>
        <p:spPr>
          <a:xfrm>
            <a:off x="2855580" y="5127658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Call 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08AFC9D2-49ED-4ED4-BE29-74DD94AA8E9B}"/>
              </a:ext>
            </a:extLst>
          </p:cNvPr>
          <p:cNvSpPr/>
          <p:nvPr/>
        </p:nvSpPr>
        <p:spPr>
          <a:xfrm>
            <a:off x="2855580" y="5654004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CRM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6">
            <a:extLst>
              <a:ext uri="{FF2B5EF4-FFF2-40B4-BE49-F238E27FC236}">
                <a16:creationId xmlns:a16="http://schemas.microsoft.com/office/drawing/2014/main" id="{6E037CCF-9872-41B7-9418-C060552FE57A}"/>
              </a:ext>
            </a:extLst>
          </p:cNvPr>
          <p:cNvCxnSpPr>
            <a:cxnSpLocks/>
          </p:cNvCxnSpPr>
          <p:nvPr/>
        </p:nvCxnSpPr>
        <p:spPr>
          <a:xfrm>
            <a:off x="2609634" y="801384"/>
            <a:ext cx="0" cy="5383659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27">
            <a:extLst>
              <a:ext uri="{FF2B5EF4-FFF2-40B4-BE49-F238E27FC236}">
                <a16:creationId xmlns:a16="http://schemas.microsoft.com/office/drawing/2014/main" id="{559573D1-54B5-48C1-A431-293CA4B506A8}"/>
              </a:ext>
            </a:extLst>
          </p:cNvPr>
          <p:cNvSpPr/>
          <p:nvPr/>
        </p:nvSpPr>
        <p:spPr>
          <a:xfrm>
            <a:off x="449139" y="801384"/>
            <a:ext cx="1914404" cy="406108"/>
          </a:xfrm>
          <a:prstGeom prst="roundRect">
            <a:avLst/>
          </a:prstGeom>
          <a:solidFill>
            <a:srgbClr val="F65C00"/>
          </a:solidFill>
          <a:ln w="9525" cap="rnd" cmpd="sng" algn="ctr">
            <a:solidFill>
              <a:srgbClr val="F65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ource</a:t>
            </a:r>
          </a:p>
        </p:txBody>
      </p:sp>
      <p:sp>
        <p:nvSpPr>
          <p:cNvPr id="19" name="Rectangle: Rounded Corners 27">
            <a:extLst>
              <a:ext uri="{FF2B5EF4-FFF2-40B4-BE49-F238E27FC236}">
                <a16:creationId xmlns:a16="http://schemas.microsoft.com/office/drawing/2014/main" id="{615B4D55-3C88-4A03-A132-2F67023F9BB9}"/>
              </a:ext>
            </a:extLst>
          </p:cNvPr>
          <p:cNvSpPr/>
          <p:nvPr/>
        </p:nvSpPr>
        <p:spPr>
          <a:xfrm>
            <a:off x="2897416" y="799099"/>
            <a:ext cx="1914404" cy="406108"/>
          </a:xfrm>
          <a:prstGeom prst="roundRect">
            <a:avLst/>
          </a:prstGeom>
          <a:solidFill>
            <a:srgbClr val="F65C00"/>
          </a:solidFill>
          <a:ln w="9525" cap="rnd" cmpd="sng" algn="ctr">
            <a:solidFill>
              <a:srgbClr val="F65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Module</a:t>
            </a:r>
          </a:p>
        </p:txBody>
      </p:sp>
      <p:cxnSp>
        <p:nvCxnSpPr>
          <p:cNvPr id="20" name="Straight Connector 6">
            <a:extLst>
              <a:ext uri="{FF2B5EF4-FFF2-40B4-BE49-F238E27FC236}">
                <a16:creationId xmlns:a16="http://schemas.microsoft.com/office/drawing/2014/main" id="{BAF91BD8-53D1-4ABE-A90C-F49388D2BC79}"/>
              </a:ext>
            </a:extLst>
          </p:cNvPr>
          <p:cNvCxnSpPr>
            <a:cxnSpLocks/>
          </p:cNvCxnSpPr>
          <p:nvPr/>
        </p:nvCxnSpPr>
        <p:spPr>
          <a:xfrm>
            <a:off x="5135368" y="767412"/>
            <a:ext cx="0" cy="5383659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7">
            <a:extLst>
              <a:ext uri="{FF2B5EF4-FFF2-40B4-BE49-F238E27FC236}">
                <a16:creationId xmlns:a16="http://schemas.microsoft.com/office/drawing/2014/main" id="{36134FAC-B7B2-46C2-86BF-C8B06296D4D0}"/>
              </a:ext>
            </a:extLst>
          </p:cNvPr>
          <p:cNvSpPr/>
          <p:nvPr/>
        </p:nvSpPr>
        <p:spPr>
          <a:xfrm>
            <a:off x="7782026" y="767412"/>
            <a:ext cx="1914404" cy="406108"/>
          </a:xfrm>
          <a:prstGeom prst="round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llenging Part</a:t>
            </a:r>
          </a:p>
        </p:txBody>
      </p:sp>
      <p:sp>
        <p:nvSpPr>
          <p:cNvPr id="22" name="Rectangle: Rounded Corners 27">
            <a:extLst>
              <a:ext uri="{FF2B5EF4-FFF2-40B4-BE49-F238E27FC236}">
                <a16:creationId xmlns:a16="http://schemas.microsoft.com/office/drawing/2014/main" id="{4401D83E-D40E-437E-A6B4-05A9D45C8736}"/>
              </a:ext>
            </a:extLst>
          </p:cNvPr>
          <p:cNvSpPr/>
          <p:nvPr/>
        </p:nvSpPr>
        <p:spPr>
          <a:xfrm>
            <a:off x="7782026" y="3287279"/>
            <a:ext cx="1914404" cy="406108"/>
          </a:xfrm>
          <a:prstGeom prst="roundRect">
            <a:avLst/>
          </a:prstGeom>
          <a:solidFill>
            <a:srgbClr val="01516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Stage</a:t>
            </a:r>
          </a:p>
        </p:txBody>
      </p:sp>
      <p:sp>
        <p:nvSpPr>
          <p:cNvPr id="23" name="矩形: 圆角 22">
            <a:extLst>
              <a:ext uri="{FF2B5EF4-FFF2-40B4-BE49-F238E27FC236}">
                <a16:creationId xmlns:a16="http://schemas.microsoft.com/office/drawing/2014/main" id="{B9D80BF4-2E15-419F-B9A8-334932FD4B34}"/>
              </a:ext>
            </a:extLst>
          </p:cNvPr>
          <p:cNvSpPr/>
          <p:nvPr/>
        </p:nvSpPr>
        <p:spPr>
          <a:xfrm>
            <a:off x="5599418" y="1481083"/>
            <a:ext cx="6142935" cy="40610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Sales Mode Difference – Direct sales vs Indirect Sales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: 圆角 23">
            <a:extLst>
              <a:ext uri="{FF2B5EF4-FFF2-40B4-BE49-F238E27FC236}">
                <a16:creationId xmlns:a16="http://schemas.microsoft.com/office/drawing/2014/main" id="{8AE262D5-2100-49C2-AAB8-77B4FE00B986}"/>
              </a:ext>
            </a:extLst>
          </p:cNvPr>
          <p:cNvSpPr/>
          <p:nvPr/>
        </p:nvSpPr>
        <p:spPr>
          <a:xfrm>
            <a:off x="5599417" y="1986881"/>
            <a:ext cx="6142935" cy="40610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Source System Difference – SAP vs </a:t>
            </a:r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ida+QTData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箭头: 下 16">
            <a:extLst>
              <a:ext uri="{FF2B5EF4-FFF2-40B4-BE49-F238E27FC236}">
                <a16:creationId xmlns:a16="http://schemas.microsoft.com/office/drawing/2014/main" id="{AA1E6848-E8A2-4A73-81D8-890457526E4F}"/>
              </a:ext>
            </a:extLst>
          </p:cNvPr>
          <p:cNvSpPr/>
          <p:nvPr/>
        </p:nvSpPr>
        <p:spPr>
          <a:xfrm>
            <a:off x="6678202" y="2436737"/>
            <a:ext cx="316782" cy="325224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10C8F681-1E9F-473A-85BC-37C727334ADB}"/>
              </a:ext>
            </a:extLst>
          </p:cNvPr>
          <p:cNvSpPr/>
          <p:nvPr/>
        </p:nvSpPr>
        <p:spPr>
          <a:xfrm>
            <a:off x="5889537" y="280112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Structure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C0657321-EE9F-4B54-9526-1A80DC261F92}"/>
              </a:ext>
            </a:extLst>
          </p:cNvPr>
          <p:cNvSpPr/>
          <p:nvPr/>
        </p:nvSpPr>
        <p:spPr>
          <a:xfrm>
            <a:off x="9171275" y="280112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Quality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箭头: 下 28">
            <a:extLst>
              <a:ext uri="{FF2B5EF4-FFF2-40B4-BE49-F238E27FC236}">
                <a16:creationId xmlns:a16="http://schemas.microsoft.com/office/drawing/2014/main" id="{4FF23598-B316-4E4E-B681-10D09E361B1D}"/>
              </a:ext>
            </a:extLst>
          </p:cNvPr>
          <p:cNvSpPr/>
          <p:nvPr/>
        </p:nvSpPr>
        <p:spPr>
          <a:xfrm>
            <a:off x="9959940" y="2436737"/>
            <a:ext cx="316782" cy="325224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BC858E39-F8C9-4529-B3DB-83CDB5C843D3}"/>
              </a:ext>
            </a:extLst>
          </p:cNvPr>
          <p:cNvSpPr/>
          <p:nvPr/>
        </p:nvSpPr>
        <p:spPr>
          <a:xfrm>
            <a:off x="5599417" y="3789310"/>
            <a:ext cx="6142935" cy="249719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 1</a:t>
            </a:r>
            <a:r>
              <a:rPr lang="en-US" altLang="zh-CN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nd of sales data structure comparison</a:t>
            </a:r>
          </a:p>
          <a:p>
            <a:pPr marL="285750" indent="-285750">
              <a:buFontTx/>
              <a:buChar char="-"/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gure out whether current sales data structure on China DDP can cover NGSE sales data requir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altLang="zh-CN" sz="1400" b="1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Estimate influence of attributes that China DDP lac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Flexible attributes and will not be used in actual NGSE data processing  - FIN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Mandatory attributes that influence final forecast results – </a:t>
            </a:r>
            <a:r>
              <a:rPr lang="en-US" altLang="zh-CN" sz="1200" b="1" dirty="0">
                <a:solidFill>
                  <a:srgbClr val="658E49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not found</a:t>
            </a:r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, China DDP can provide all the indirect sales information that NGSE need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Next Ste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2nd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nd check with Global DDP team and </a:t>
            </a:r>
            <a:r>
              <a:rPr lang="en-US" altLang="zh-CN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Team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54280B94-3264-49E4-85B4-435E9E75BF63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 flipV="1">
            <a:off x="2133602" y="1905575"/>
            <a:ext cx="721978" cy="529417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C439669-0969-4AC2-B245-E5985C6FEEAE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>
            <a:off x="2133602" y="2434992"/>
            <a:ext cx="721978" cy="309078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连接符: 肘形 37">
            <a:extLst>
              <a:ext uri="{FF2B5EF4-FFF2-40B4-BE49-F238E27FC236}">
                <a16:creationId xmlns:a16="http://schemas.microsoft.com/office/drawing/2014/main" id="{6F5041F4-0C1F-4757-A2F7-82227567AD48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2133602" y="2434992"/>
            <a:ext cx="721978" cy="835424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连接符: 肘形 40">
            <a:extLst>
              <a:ext uri="{FF2B5EF4-FFF2-40B4-BE49-F238E27FC236}">
                <a16:creationId xmlns:a16="http://schemas.microsoft.com/office/drawing/2014/main" id="{64EAB44B-31A9-425E-BF1A-1AB366A06232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>
            <a:off x="2133602" y="2434992"/>
            <a:ext cx="721978" cy="1369196"/>
          </a:xfrm>
          <a:prstGeom prst="bentConnector3">
            <a:avLst>
              <a:gd name="adj1" fmla="val 50000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连接符: 肘形 43">
            <a:extLst>
              <a:ext uri="{FF2B5EF4-FFF2-40B4-BE49-F238E27FC236}">
                <a16:creationId xmlns:a16="http://schemas.microsoft.com/office/drawing/2014/main" id="{E0E57137-B41A-4EAF-B19F-26964BCB96FD}"/>
              </a:ext>
            </a:extLst>
          </p:cNvPr>
          <p:cNvCxnSpPr>
            <a:cxnSpLocks/>
            <a:stCxn id="6" idx="3"/>
            <a:endCxn id="12" idx="1"/>
          </p:cNvCxnSpPr>
          <p:nvPr/>
        </p:nvCxnSpPr>
        <p:spPr>
          <a:xfrm flipV="1">
            <a:off x="2133602" y="4760470"/>
            <a:ext cx="721978" cy="463917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连接符: 肘形 46">
            <a:extLst>
              <a:ext uri="{FF2B5EF4-FFF2-40B4-BE49-F238E27FC236}">
                <a16:creationId xmlns:a16="http://schemas.microsoft.com/office/drawing/2014/main" id="{9FA5201F-44FA-4425-A077-8BDF3F2402E2}"/>
              </a:ext>
            </a:extLst>
          </p:cNvPr>
          <p:cNvCxnSpPr>
            <a:cxnSpLocks/>
            <a:stCxn id="6" idx="3"/>
            <a:endCxn id="13" idx="1"/>
          </p:cNvCxnSpPr>
          <p:nvPr/>
        </p:nvCxnSpPr>
        <p:spPr>
          <a:xfrm>
            <a:off x="2133602" y="5224387"/>
            <a:ext cx="721978" cy="62429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连接符: 肘形 49">
            <a:extLst>
              <a:ext uri="{FF2B5EF4-FFF2-40B4-BE49-F238E27FC236}">
                <a16:creationId xmlns:a16="http://schemas.microsoft.com/office/drawing/2014/main" id="{D0B44C4C-3098-48C0-ACE8-5F38439CE06F}"/>
              </a:ext>
            </a:extLst>
          </p:cNvPr>
          <p:cNvCxnSpPr>
            <a:cxnSpLocks/>
            <a:stCxn id="6" idx="3"/>
            <a:endCxn id="14" idx="1"/>
          </p:cNvCxnSpPr>
          <p:nvPr/>
        </p:nvCxnSpPr>
        <p:spPr>
          <a:xfrm>
            <a:off x="2133602" y="5224387"/>
            <a:ext cx="721978" cy="588775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连接符: 肘形 53">
            <a:extLst>
              <a:ext uri="{FF2B5EF4-FFF2-40B4-BE49-F238E27FC236}">
                <a16:creationId xmlns:a16="http://schemas.microsoft.com/office/drawing/2014/main" id="{04F15C9C-7927-49C6-98D0-C2DDA3A6FEFD}"/>
              </a:ext>
            </a:extLst>
          </p:cNvPr>
          <p:cNvCxnSpPr>
            <a:cxnSpLocks/>
            <a:stCxn id="7" idx="3"/>
            <a:endCxn id="21" idx="1"/>
          </p:cNvCxnSpPr>
          <p:nvPr/>
        </p:nvCxnSpPr>
        <p:spPr>
          <a:xfrm flipV="1">
            <a:off x="4749691" y="970466"/>
            <a:ext cx="3032335" cy="935109"/>
          </a:xfrm>
          <a:prstGeom prst="bentConnector3">
            <a:avLst>
              <a:gd name="adj1" fmla="val 20862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410D7547-4813-40E7-AA93-F0F58BF4742F}"/>
              </a:ext>
            </a:extLst>
          </p:cNvPr>
          <p:cNvCxnSpPr>
            <a:cxnSpLocks/>
            <a:stCxn id="7" idx="3"/>
            <a:endCxn id="22" idx="1"/>
          </p:cNvCxnSpPr>
          <p:nvPr/>
        </p:nvCxnSpPr>
        <p:spPr>
          <a:xfrm>
            <a:off x="4749691" y="1905575"/>
            <a:ext cx="3032335" cy="1584758"/>
          </a:xfrm>
          <a:prstGeom prst="bentConnector3">
            <a:avLst>
              <a:gd name="adj1" fmla="val 20862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8592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9FD2F63F-CA98-44F7-BFEA-8BA9F03DB3B6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Assessment Resul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4" name="Rectangle: Rounded Corners 28">
            <a:extLst>
              <a:ext uri="{FF2B5EF4-FFF2-40B4-BE49-F238E27FC236}">
                <a16:creationId xmlns:a16="http://schemas.microsoft.com/office/drawing/2014/main" id="{B93CAA80-D7F6-4F91-AE6C-C5B12B1428A4}"/>
              </a:ext>
            </a:extLst>
          </p:cNvPr>
          <p:cNvSpPr/>
          <p:nvPr/>
        </p:nvSpPr>
        <p:spPr>
          <a:xfrm>
            <a:off x="2040757" y="1228699"/>
            <a:ext cx="3127438" cy="373685"/>
          </a:xfrm>
          <a:prstGeom prst="roundRect">
            <a:avLst/>
          </a:prstGeom>
          <a:solidFill>
            <a:srgbClr val="01516F"/>
          </a:solidFill>
          <a:ln w="9525" cap="rnd" cmpd="sng" algn="ctr">
            <a:solidFill>
              <a:srgbClr val="01516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tructure Side</a:t>
            </a:r>
          </a:p>
        </p:txBody>
      </p:sp>
      <p:cxnSp>
        <p:nvCxnSpPr>
          <p:cNvPr id="26" name="Straight Connector 6">
            <a:extLst>
              <a:ext uri="{FF2B5EF4-FFF2-40B4-BE49-F238E27FC236}">
                <a16:creationId xmlns:a16="http://schemas.microsoft.com/office/drawing/2014/main" id="{1C7A89A5-C3B0-49A5-B177-F14C03471C92}"/>
              </a:ext>
            </a:extLst>
          </p:cNvPr>
          <p:cNvCxnSpPr>
            <a:cxnSpLocks/>
          </p:cNvCxnSpPr>
          <p:nvPr/>
        </p:nvCxnSpPr>
        <p:spPr>
          <a:xfrm>
            <a:off x="7497388" y="1358900"/>
            <a:ext cx="0" cy="3463357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7">
            <a:extLst>
              <a:ext uri="{FF2B5EF4-FFF2-40B4-BE49-F238E27FC236}">
                <a16:creationId xmlns:a16="http://schemas.microsoft.com/office/drawing/2014/main" id="{A776142B-88F5-4255-B99B-6ECDDC92509B}"/>
              </a:ext>
            </a:extLst>
          </p:cNvPr>
          <p:cNvSpPr/>
          <p:nvPr/>
        </p:nvSpPr>
        <p:spPr>
          <a:xfrm>
            <a:off x="8190656" y="1228699"/>
            <a:ext cx="3127438" cy="373685"/>
          </a:xfrm>
          <a:prstGeom prst="roundRect">
            <a:avLst/>
          </a:prstGeom>
          <a:solidFill>
            <a:srgbClr val="658E49"/>
          </a:solidFill>
          <a:ln w="9525" cap="rnd" cmpd="sng" algn="ctr">
            <a:solidFill>
              <a:srgbClr val="658E4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Quality Side</a:t>
            </a:r>
          </a:p>
        </p:txBody>
      </p:sp>
      <p:sp>
        <p:nvSpPr>
          <p:cNvPr id="5" name="卷形: 水平 4">
            <a:extLst>
              <a:ext uri="{FF2B5EF4-FFF2-40B4-BE49-F238E27FC236}">
                <a16:creationId xmlns:a16="http://schemas.microsoft.com/office/drawing/2014/main" id="{0BD9B1CD-28DD-4275-9E7A-96AAC57A3B42}"/>
              </a:ext>
            </a:extLst>
          </p:cNvPr>
          <p:cNvSpPr/>
          <p:nvPr/>
        </p:nvSpPr>
        <p:spPr>
          <a:xfrm>
            <a:off x="330483" y="5737258"/>
            <a:ext cx="1739900" cy="614429"/>
          </a:xfrm>
          <a:prstGeom prst="horizontalScroll">
            <a:avLst/>
          </a:prstGeom>
          <a:solidFill>
            <a:srgbClr val="F65C00"/>
          </a:solidFill>
          <a:ln>
            <a:solidFill>
              <a:srgbClr val="F65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 Result</a:t>
            </a:r>
          </a:p>
        </p:txBody>
      </p:sp>
      <p:cxnSp>
        <p:nvCxnSpPr>
          <p:cNvPr id="32" name="Straight Connector 6">
            <a:extLst>
              <a:ext uri="{FF2B5EF4-FFF2-40B4-BE49-F238E27FC236}">
                <a16:creationId xmlns:a16="http://schemas.microsoft.com/office/drawing/2014/main" id="{7F7B549C-BA0C-41F2-8956-D23E9AABF016}"/>
              </a:ext>
            </a:extLst>
          </p:cNvPr>
          <p:cNvCxnSpPr>
            <a:cxnSpLocks/>
          </p:cNvCxnSpPr>
          <p:nvPr/>
        </p:nvCxnSpPr>
        <p:spPr>
          <a:xfrm>
            <a:off x="660400" y="5413176"/>
            <a:ext cx="10934700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: 圆角 32">
            <a:extLst>
              <a:ext uri="{FF2B5EF4-FFF2-40B4-BE49-F238E27FC236}">
                <a16:creationId xmlns:a16="http://schemas.microsoft.com/office/drawing/2014/main" id="{27E7867B-8808-4B33-A92E-08BDD1A53981}"/>
              </a:ext>
            </a:extLst>
          </p:cNvPr>
          <p:cNvSpPr/>
          <p:nvPr/>
        </p:nvSpPr>
        <p:spPr>
          <a:xfrm>
            <a:off x="2121675" y="1792780"/>
            <a:ext cx="296560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Required Attributes : 60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67839677-03B1-4E3A-BDA6-82943B94596E}"/>
              </a:ext>
            </a:extLst>
          </p:cNvPr>
          <p:cNvSpPr/>
          <p:nvPr/>
        </p:nvSpPr>
        <p:spPr>
          <a:xfrm>
            <a:off x="2093118" y="1792780"/>
            <a:ext cx="135731" cy="318315"/>
          </a:xfrm>
          <a:prstGeom prst="roundRect">
            <a:avLst/>
          </a:prstGeom>
          <a:solidFill>
            <a:srgbClr val="01516F"/>
          </a:solidFill>
          <a:ln w="19050">
            <a:solidFill>
              <a:srgbClr val="0151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03B9470C-47AE-48D6-B04E-F3FA2ECF2C2C}"/>
              </a:ext>
            </a:extLst>
          </p:cNvPr>
          <p:cNvSpPr/>
          <p:nvPr/>
        </p:nvSpPr>
        <p:spPr>
          <a:xfrm>
            <a:off x="1028701" y="2469055"/>
            <a:ext cx="2368554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l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 : 48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67B16539-4039-42F3-91CA-D1D1FDC58627}"/>
              </a:ext>
            </a:extLst>
          </p:cNvPr>
          <p:cNvSpPr/>
          <p:nvPr/>
        </p:nvSpPr>
        <p:spPr>
          <a:xfrm>
            <a:off x="1000143" y="2469055"/>
            <a:ext cx="135731" cy="318315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CDCB8DEA-DE5B-41F0-BFD4-6DDAB3652A70}"/>
              </a:ext>
            </a:extLst>
          </p:cNvPr>
          <p:cNvSpPr/>
          <p:nvPr/>
        </p:nvSpPr>
        <p:spPr>
          <a:xfrm>
            <a:off x="4664677" y="2469055"/>
            <a:ext cx="259337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 Hav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 : </a:t>
            </a:r>
            <a:r>
              <a:rPr lang="en-US" altLang="zh-CN" sz="14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zh-CN" altLang="en-US" sz="1400" b="1" dirty="0">
              <a:solidFill>
                <a:srgbClr val="F65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: 圆角 37">
            <a:extLst>
              <a:ext uri="{FF2B5EF4-FFF2-40B4-BE49-F238E27FC236}">
                <a16:creationId xmlns:a16="http://schemas.microsoft.com/office/drawing/2014/main" id="{3EA8DF2D-DA55-4E94-ACEE-DE3838D44AE6}"/>
              </a:ext>
            </a:extLst>
          </p:cNvPr>
          <p:cNvSpPr/>
          <p:nvPr/>
        </p:nvSpPr>
        <p:spPr>
          <a:xfrm>
            <a:off x="4636120" y="2469055"/>
            <a:ext cx="135731" cy="318315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FAFCAC38-4C66-451B-B4C9-2A0324FE0994}"/>
              </a:ext>
            </a:extLst>
          </p:cNvPr>
          <p:cNvSpPr/>
          <p:nvPr/>
        </p:nvSpPr>
        <p:spPr>
          <a:xfrm>
            <a:off x="330483" y="3165413"/>
            <a:ext cx="2488914" cy="100144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: 31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Sales Related Attributes – </a:t>
            </a:r>
            <a:r>
              <a:rPr lang="en-US" altLang="zh-CN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Need in CHN Market</a:t>
            </a:r>
            <a:endParaRPr lang="zh-CN" altLang="en-US" sz="14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51C64259-6012-4CE1-98DA-525251BEB787}"/>
              </a:ext>
            </a:extLst>
          </p:cNvPr>
          <p:cNvSpPr/>
          <p:nvPr/>
        </p:nvSpPr>
        <p:spPr>
          <a:xfrm>
            <a:off x="219847" y="3165413"/>
            <a:ext cx="229292" cy="1001448"/>
          </a:xfrm>
          <a:prstGeom prst="roundRect">
            <a:avLst/>
          </a:prstGeom>
          <a:solidFill>
            <a:srgbClr val="C00000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: 圆角 44">
            <a:extLst>
              <a:ext uri="{FF2B5EF4-FFF2-40B4-BE49-F238E27FC236}">
                <a16:creationId xmlns:a16="http://schemas.microsoft.com/office/drawing/2014/main" id="{2A8AEA1E-B6F3-4351-9277-617A197F0954}"/>
              </a:ext>
            </a:extLst>
          </p:cNvPr>
          <p:cNvSpPr/>
          <p:nvPr/>
        </p:nvSpPr>
        <p:spPr>
          <a:xfrm>
            <a:off x="3134107" y="3165413"/>
            <a:ext cx="2488914" cy="100144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: 17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na DDP will Still Provide Data for </a:t>
            </a:r>
            <a:r>
              <a:rPr lang="en-US" altLang="zh-CN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Use</a:t>
            </a:r>
            <a:endParaRPr lang="zh-CN" altLang="en-US" sz="14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58451C73-9EB3-4C74-A7B4-B315D828FF23}"/>
              </a:ext>
            </a:extLst>
          </p:cNvPr>
          <p:cNvSpPr/>
          <p:nvPr/>
        </p:nvSpPr>
        <p:spPr>
          <a:xfrm>
            <a:off x="3023471" y="3165413"/>
            <a:ext cx="229292" cy="1001448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AE068CCD-5EF7-49DB-8430-611778118DA7}"/>
              </a:ext>
            </a:extLst>
          </p:cNvPr>
          <p:cNvSpPr/>
          <p:nvPr/>
        </p:nvSpPr>
        <p:spPr>
          <a:xfrm>
            <a:off x="5999179" y="3163505"/>
            <a:ext cx="1366819" cy="100144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tributes: </a:t>
            </a:r>
            <a:r>
              <a:rPr lang="en-US" altLang="zh-CN" sz="14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zh-CN" altLang="en-US" sz="1400" b="1" dirty="0">
              <a:solidFill>
                <a:srgbClr val="F65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C06991F4-740A-4D4F-9873-E34753EF99A5}"/>
              </a:ext>
            </a:extLst>
          </p:cNvPr>
          <p:cNvSpPr/>
          <p:nvPr/>
        </p:nvSpPr>
        <p:spPr>
          <a:xfrm>
            <a:off x="5888543" y="3163506"/>
            <a:ext cx="229292" cy="1001448"/>
          </a:xfrm>
          <a:prstGeom prst="roundRect">
            <a:avLst/>
          </a:prstGeom>
          <a:solidFill>
            <a:srgbClr val="658E49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EFF8ED4D-18F1-45D2-9E23-FCEAB5B3A597}"/>
              </a:ext>
            </a:extLst>
          </p:cNvPr>
          <p:cNvCxnSpPr>
            <a:cxnSpLocks/>
            <a:stCxn id="24" idx="2"/>
            <a:endCxn id="33" idx="0"/>
          </p:cNvCxnSpPr>
          <p:nvPr/>
        </p:nvCxnSpPr>
        <p:spPr>
          <a:xfrm>
            <a:off x="3604476" y="1602384"/>
            <a:ext cx="0" cy="190396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连接符: 肘形 52">
            <a:extLst>
              <a:ext uri="{FF2B5EF4-FFF2-40B4-BE49-F238E27FC236}">
                <a16:creationId xmlns:a16="http://schemas.microsoft.com/office/drawing/2014/main" id="{59F93051-70C8-47D7-9DD5-C8CDC4C0EF4B}"/>
              </a:ext>
            </a:extLst>
          </p:cNvPr>
          <p:cNvCxnSpPr>
            <a:cxnSpLocks/>
            <a:stCxn id="33" idx="2"/>
            <a:endCxn id="35" idx="0"/>
          </p:cNvCxnSpPr>
          <p:nvPr/>
        </p:nvCxnSpPr>
        <p:spPr>
          <a:xfrm rot="5400000">
            <a:off x="2729748" y="1594326"/>
            <a:ext cx="357959" cy="1391498"/>
          </a:xfrm>
          <a:prstGeom prst="bentConnector3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C88A641A-41E4-479A-9939-B95FC7FBA907}"/>
              </a:ext>
            </a:extLst>
          </p:cNvPr>
          <p:cNvCxnSpPr>
            <a:cxnSpLocks/>
            <a:stCxn id="33" idx="2"/>
            <a:endCxn id="37" idx="0"/>
          </p:cNvCxnSpPr>
          <p:nvPr/>
        </p:nvCxnSpPr>
        <p:spPr>
          <a:xfrm rot="16200000" flipH="1">
            <a:off x="4603940" y="1111631"/>
            <a:ext cx="357959" cy="2356887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5CBD0CAA-8579-412E-8D8C-2A7BA8955971}"/>
              </a:ext>
            </a:extLst>
          </p:cNvPr>
          <p:cNvCxnSpPr>
            <a:cxnSpLocks/>
            <a:stCxn id="35" idx="2"/>
            <a:endCxn id="43" idx="0"/>
          </p:cNvCxnSpPr>
          <p:nvPr/>
        </p:nvCxnSpPr>
        <p:spPr>
          <a:xfrm rot="5400000">
            <a:off x="1704938" y="2657373"/>
            <a:ext cx="378042" cy="638038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连接符: 肘形 60">
            <a:extLst>
              <a:ext uri="{FF2B5EF4-FFF2-40B4-BE49-F238E27FC236}">
                <a16:creationId xmlns:a16="http://schemas.microsoft.com/office/drawing/2014/main" id="{72AD48EE-620D-4E8D-9DCA-1FB0FCB8D3CF}"/>
              </a:ext>
            </a:extLst>
          </p:cNvPr>
          <p:cNvCxnSpPr>
            <a:cxnSpLocks/>
            <a:stCxn id="35" idx="2"/>
            <a:endCxn id="45" idx="0"/>
          </p:cNvCxnSpPr>
          <p:nvPr/>
        </p:nvCxnSpPr>
        <p:spPr>
          <a:xfrm rot="16200000" flipH="1">
            <a:off x="3106750" y="1893599"/>
            <a:ext cx="378042" cy="2165586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6B431926-D975-4438-87FF-862906707335}"/>
              </a:ext>
            </a:extLst>
          </p:cNvPr>
          <p:cNvCxnSpPr>
            <a:cxnSpLocks/>
            <a:stCxn id="37" idx="2"/>
            <a:endCxn id="47" idx="0"/>
          </p:cNvCxnSpPr>
          <p:nvPr/>
        </p:nvCxnSpPr>
        <p:spPr>
          <a:xfrm rot="16200000" flipH="1">
            <a:off x="6133909" y="2614825"/>
            <a:ext cx="376134" cy="721226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 66">
            <a:extLst>
              <a:ext uri="{FF2B5EF4-FFF2-40B4-BE49-F238E27FC236}">
                <a16:creationId xmlns:a16="http://schemas.microsoft.com/office/drawing/2014/main" id="{1BC9E1B8-7F2B-4A88-841B-623AB4C90093}"/>
              </a:ext>
            </a:extLst>
          </p:cNvPr>
          <p:cNvSpPr/>
          <p:nvPr/>
        </p:nvSpPr>
        <p:spPr>
          <a:xfrm>
            <a:off x="219846" y="4587450"/>
            <a:ext cx="2488915" cy="430076"/>
          </a:xfrm>
          <a:prstGeom prst="rect">
            <a:avLst/>
          </a:prstGeom>
          <a:solidFill>
            <a:schemeClr val="bg1"/>
          </a:solidFill>
          <a:ln w="25400">
            <a:solidFill>
              <a:srgbClr val="F65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rdcode ‘Unknown’</a:t>
            </a:r>
            <a:endParaRPr lang="zh-CN" altLang="en-US" sz="1600" dirty="0"/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505BA64D-6098-4668-A6E3-7D36D6F08C14}"/>
              </a:ext>
            </a:extLst>
          </p:cNvPr>
          <p:cNvSpPr/>
          <p:nvPr/>
        </p:nvSpPr>
        <p:spPr>
          <a:xfrm>
            <a:off x="3733799" y="4567281"/>
            <a:ext cx="2867873" cy="430072"/>
          </a:xfrm>
          <a:prstGeom prst="rect">
            <a:avLst/>
          </a:prstGeom>
          <a:solidFill>
            <a:schemeClr val="bg1"/>
          </a:solidFill>
          <a:ln w="25400">
            <a:solidFill>
              <a:srgbClr val="F65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ping Logic</a:t>
            </a:r>
            <a:endParaRPr lang="zh-CN" alt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BDE5423A-DE20-4943-9CE6-D7906E3C78C3}"/>
              </a:ext>
            </a:extLst>
          </p:cNvPr>
          <p:cNvCxnSpPr>
            <a:cxnSpLocks/>
            <a:stCxn id="43" idx="2"/>
            <a:endCxn id="67" idx="0"/>
          </p:cNvCxnSpPr>
          <p:nvPr/>
        </p:nvCxnSpPr>
        <p:spPr>
          <a:xfrm rot="5400000">
            <a:off x="1309328" y="4321838"/>
            <a:ext cx="420588" cy="110636"/>
          </a:xfrm>
          <a:prstGeom prst="bentConnector3">
            <a:avLst/>
          </a:prstGeom>
          <a:ln w="25400">
            <a:solidFill>
              <a:srgbClr val="F65C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连接符: 肘形 71">
            <a:extLst>
              <a:ext uri="{FF2B5EF4-FFF2-40B4-BE49-F238E27FC236}">
                <a16:creationId xmlns:a16="http://schemas.microsoft.com/office/drawing/2014/main" id="{85BEA0DA-DB91-4A7D-BB6A-50C96A8A823E}"/>
              </a:ext>
            </a:extLst>
          </p:cNvPr>
          <p:cNvCxnSpPr>
            <a:cxnSpLocks/>
            <a:stCxn id="45" idx="2"/>
            <a:endCxn id="68" idx="0"/>
          </p:cNvCxnSpPr>
          <p:nvPr/>
        </p:nvCxnSpPr>
        <p:spPr>
          <a:xfrm rot="16200000" flipH="1">
            <a:off x="4572941" y="3972485"/>
            <a:ext cx="400419" cy="789172"/>
          </a:xfrm>
          <a:prstGeom prst="bentConnector3">
            <a:avLst>
              <a:gd name="adj1" fmla="val 50000"/>
            </a:avLst>
          </a:prstGeom>
          <a:ln w="25400">
            <a:solidFill>
              <a:srgbClr val="F65C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连接符: 肘形 74">
            <a:extLst>
              <a:ext uri="{FF2B5EF4-FFF2-40B4-BE49-F238E27FC236}">
                <a16:creationId xmlns:a16="http://schemas.microsoft.com/office/drawing/2014/main" id="{7636F4FF-3567-4639-972C-9FCDB13D3641}"/>
              </a:ext>
            </a:extLst>
          </p:cNvPr>
          <p:cNvCxnSpPr>
            <a:cxnSpLocks/>
            <a:stCxn id="47" idx="2"/>
            <a:endCxn id="68" idx="0"/>
          </p:cNvCxnSpPr>
          <p:nvPr/>
        </p:nvCxnSpPr>
        <p:spPr>
          <a:xfrm rot="5400000">
            <a:off x="5724000" y="3608691"/>
            <a:ext cx="402327" cy="1514853"/>
          </a:xfrm>
          <a:prstGeom prst="bentConnector3">
            <a:avLst>
              <a:gd name="adj1" fmla="val 50000"/>
            </a:avLst>
          </a:prstGeom>
          <a:ln w="25400">
            <a:solidFill>
              <a:srgbClr val="F65C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文本框 78">
            <a:extLst>
              <a:ext uri="{FF2B5EF4-FFF2-40B4-BE49-F238E27FC236}">
                <a16:creationId xmlns:a16="http://schemas.microsoft.com/office/drawing/2014/main" id="{9ADCF118-2445-4338-B851-AD9C18C78696}"/>
              </a:ext>
            </a:extLst>
          </p:cNvPr>
          <p:cNvSpPr txBox="1"/>
          <p:nvPr/>
        </p:nvSpPr>
        <p:spPr>
          <a:xfrm>
            <a:off x="2645258" y="5582499"/>
            <a:ext cx="78105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Data Readiness Assessment Result </a:t>
            </a:r>
            <a:r>
              <a:rPr lang="en-US" altLang="zh-CN" sz="16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altLang="zh-CN" sz="16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* Readine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1600" b="1" dirty="0">
                <a:latin typeface="Arial" panose="020B0604020202020204" pitchFamily="34" charset="0"/>
                <a:cs typeface="Arial" panose="020B0604020202020204" pitchFamily="34" charset="0"/>
              </a:rPr>
              <a:t>No need to integrate </a:t>
            </a: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other data sour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China DDP indirect </a:t>
            </a:r>
            <a:r>
              <a:rPr lang="en-US" altLang="zh-CN" sz="1600">
                <a:latin typeface="Arial" panose="020B0604020202020204" pitchFamily="34" charset="0"/>
                <a:cs typeface="Arial" panose="020B0604020202020204" pitchFamily="34" charset="0"/>
              </a:rPr>
              <a:t>sales table can </a:t>
            </a: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provide all information NGSE need</a:t>
            </a:r>
            <a:endParaRPr lang="zh-CN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4" name="组合 83">
            <a:extLst>
              <a:ext uri="{FF2B5EF4-FFF2-40B4-BE49-F238E27FC236}">
                <a16:creationId xmlns:a16="http://schemas.microsoft.com/office/drawing/2014/main" id="{256F6F2F-B1E1-492E-8500-497328E6F6F3}"/>
              </a:ext>
            </a:extLst>
          </p:cNvPr>
          <p:cNvGrpSpPr/>
          <p:nvPr/>
        </p:nvGrpSpPr>
        <p:grpSpPr>
          <a:xfrm>
            <a:off x="7768174" y="1992669"/>
            <a:ext cx="4157125" cy="585431"/>
            <a:chOff x="7768174" y="1992669"/>
            <a:chExt cx="4157125" cy="585431"/>
          </a:xfrm>
        </p:grpSpPr>
        <p:sp>
          <p:nvSpPr>
            <p:cNvPr id="80" name="矩形: 圆角 79">
              <a:extLst>
                <a:ext uri="{FF2B5EF4-FFF2-40B4-BE49-F238E27FC236}">
                  <a16:creationId xmlns:a16="http://schemas.microsoft.com/office/drawing/2014/main" id="{2F8225F5-8BAD-46FF-AF12-0BDC8142380F}"/>
                </a:ext>
              </a:extLst>
            </p:cNvPr>
            <p:cNvSpPr/>
            <p:nvPr/>
          </p:nvSpPr>
          <p:spPr>
            <a:xfrm>
              <a:off x="7878809" y="1992669"/>
              <a:ext cx="4046490" cy="58543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Product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TY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T </a:t>
              </a:r>
              <a:r>
                <a:rPr lang="en-US" altLang="zh-CN" sz="14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Match</a:t>
              </a:r>
            </a:p>
          </p:txBody>
        </p:sp>
        <p:sp>
          <p:nvSpPr>
            <p:cNvPr id="81" name="矩形: 圆角 80">
              <a:extLst>
                <a:ext uri="{FF2B5EF4-FFF2-40B4-BE49-F238E27FC236}">
                  <a16:creationId xmlns:a16="http://schemas.microsoft.com/office/drawing/2014/main" id="{00C0B56C-9BDD-4FC3-A21B-E67B36BC0073}"/>
                </a:ext>
              </a:extLst>
            </p:cNvPr>
            <p:cNvSpPr/>
            <p:nvPr/>
          </p:nvSpPr>
          <p:spPr>
            <a:xfrm>
              <a:off x="7768174" y="1992669"/>
              <a:ext cx="229292" cy="585430"/>
            </a:xfrm>
            <a:prstGeom prst="roundRect">
              <a:avLst/>
            </a:prstGeom>
            <a:solidFill>
              <a:srgbClr val="00594E"/>
            </a:solidFill>
            <a:ln w="19050"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0035202D-2467-483B-881C-B030E543F117}"/>
              </a:ext>
            </a:extLst>
          </p:cNvPr>
          <p:cNvGrpSpPr/>
          <p:nvPr/>
        </p:nvGrpSpPr>
        <p:grpSpPr>
          <a:xfrm>
            <a:off x="7768174" y="2900114"/>
            <a:ext cx="4157125" cy="585431"/>
            <a:chOff x="7768174" y="1992669"/>
            <a:chExt cx="4157125" cy="585431"/>
          </a:xfrm>
        </p:grpSpPr>
        <p:sp>
          <p:nvSpPr>
            <p:cNvPr id="86" name="矩形: 圆角 85">
              <a:extLst>
                <a:ext uri="{FF2B5EF4-FFF2-40B4-BE49-F238E27FC236}">
                  <a16:creationId xmlns:a16="http://schemas.microsoft.com/office/drawing/2014/main" id="{D00B3122-99EF-4E99-AB25-E0D038AF5F72}"/>
                </a:ext>
              </a:extLst>
            </p:cNvPr>
            <p:cNvSpPr/>
            <p:nvPr/>
          </p:nvSpPr>
          <p:spPr>
            <a:xfrm>
              <a:off x="7878809" y="1992669"/>
              <a:ext cx="4046490" cy="58543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Customer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TY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T </a:t>
              </a:r>
              <a:r>
                <a:rPr lang="en-US" altLang="zh-CN" sz="14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Match</a:t>
              </a:r>
            </a:p>
          </p:txBody>
        </p:sp>
        <p:sp>
          <p:nvSpPr>
            <p:cNvPr id="87" name="矩形: 圆角 86">
              <a:extLst>
                <a:ext uri="{FF2B5EF4-FFF2-40B4-BE49-F238E27FC236}">
                  <a16:creationId xmlns:a16="http://schemas.microsoft.com/office/drawing/2014/main" id="{0109F2B3-D42A-4BDB-91CA-33AEF5A8E4C1}"/>
                </a:ext>
              </a:extLst>
            </p:cNvPr>
            <p:cNvSpPr/>
            <p:nvPr/>
          </p:nvSpPr>
          <p:spPr>
            <a:xfrm>
              <a:off x="7768174" y="1992669"/>
              <a:ext cx="229292" cy="585430"/>
            </a:xfrm>
            <a:prstGeom prst="roundRect">
              <a:avLst/>
            </a:prstGeom>
            <a:solidFill>
              <a:srgbClr val="00594E"/>
            </a:solidFill>
            <a:ln w="19050"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78DE861E-1D73-4AAE-9A7F-C367A146AA27}"/>
              </a:ext>
            </a:extLst>
          </p:cNvPr>
          <p:cNvGrpSpPr/>
          <p:nvPr/>
        </p:nvGrpSpPr>
        <p:grpSpPr>
          <a:xfrm>
            <a:off x="7768174" y="3807558"/>
            <a:ext cx="4157125" cy="585431"/>
            <a:chOff x="7768174" y="1992669"/>
            <a:chExt cx="4157125" cy="585431"/>
          </a:xfrm>
        </p:grpSpPr>
        <p:sp>
          <p:nvSpPr>
            <p:cNvPr id="89" name="矩形: 圆角 88">
              <a:extLst>
                <a:ext uri="{FF2B5EF4-FFF2-40B4-BE49-F238E27FC236}">
                  <a16:creationId xmlns:a16="http://schemas.microsoft.com/office/drawing/2014/main" id="{B59D761B-7D21-4EC1-82A6-4E19CDA19978}"/>
                </a:ext>
              </a:extLst>
            </p:cNvPr>
            <p:cNvSpPr/>
            <p:nvPr/>
          </p:nvSpPr>
          <p:spPr>
            <a:xfrm>
              <a:off x="7878809" y="1992669"/>
              <a:ext cx="4046490" cy="58543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Date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zh-CN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TY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</a:t>
              </a:r>
              <a:r>
                <a:rPr lang="zh-CN" alt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T </a:t>
              </a:r>
              <a:r>
                <a:rPr lang="en-US" altLang="zh-CN" sz="14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Match</a:t>
              </a:r>
            </a:p>
          </p:txBody>
        </p:sp>
        <p:sp>
          <p:nvSpPr>
            <p:cNvPr id="90" name="矩形: 圆角 89">
              <a:extLst>
                <a:ext uri="{FF2B5EF4-FFF2-40B4-BE49-F238E27FC236}">
                  <a16:creationId xmlns:a16="http://schemas.microsoft.com/office/drawing/2014/main" id="{68ADCED4-FA19-4AB6-A9A3-68C23CA35240}"/>
                </a:ext>
              </a:extLst>
            </p:cNvPr>
            <p:cNvSpPr/>
            <p:nvPr/>
          </p:nvSpPr>
          <p:spPr>
            <a:xfrm>
              <a:off x="7768174" y="1992669"/>
              <a:ext cx="229292" cy="585430"/>
            </a:xfrm>
            <a:prstGeom prst="roundRect">
              <a:avLst/>
            </a:prstGeom>
            <a:solidFill>
              <a:srgbClr val="00594E"/>
            </a:solidFill>
            <a:ln w="19050"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825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7" name="Rectangle: Rounded Corners 28">
            <a:extLst>
              <a:ext uri="{FF2B5EF4-FFF2-40B4-BE49-F238E27FC236}">
                <a16:creationId xmlns:a16="http://schemas.microsoft.com/office/drawing/2014/main" id="{6AFDE7B6-BA30-48D4-BC0D-83B26E6C0CD7}"/>
              </a:ext>
            </a:extLst>
          </p:cNvPr>
          <p:cNvSpPr/>
          <p:nvPr/>
        </p:nvSpPr>
        <p:spPr>
          <a:xfrm>
            <a:off x="2040757" y="843687"/>
            <a:ext cx="3127438" cy="373685"/>
          </a:xfrm>
          <a:prstGeom prst="roundRect">
            <a:avLst/>
          </a:prstGeom>
          <a:solidFill>
            <a:srgbClr val="01516F"/>
          </a:solidFill>
          <a:ln w="9525" cap="rnd" cmpd="sng" algn="ctr">
            <a:solidFill>
              <a:srgbClr val="01516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Data Flow</a:t>
            </a:r>
          </a:p>
        </p:txBody>
      </p:sp>
      <p:cxnSp>
        <p:nvCxnSpPr>
          <p:cNvPr id="48" name="Straight Connector 6">
            <a:extLst>
              <a:ext uri="{FF2B5EF4-FFF2-40B4-BE49-F238E27FC236}">
                <a16:creationId xmlns:a16="http://schemas.microsoft.com/office/drawing/2014/main" id="{7F5818F8-0A6D-4968-993A-A6E7B9D55CBA}"/>
              </a:ext>
            </a:extLst>
          </p:cNvPr>
          <p:cNvCxnSpPr>
            <a:cxnSpLocks/>
          </p:cNvCxnSpPr>
          <p:nvPr/>
        </p:nvCxnSpPr>
        <p:spPr>
          <a:xfrm>
            <a:off x="7129088" y="967711"/>
            <a:ext cx="0" cy="5218484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: Rounded Corners 27">
            <a:extLst>
              <a:ext uri="{FF2B5EF4-FFF2-40B4-BE49-F238E27FC236}">
                <a16:creationId xmlns:a16="http://schemas.microsoft.com/office/drawing/2014/main" id="{F5AAC21C-E746-4E19-BF6D-2646875B59C9}"/>
              </a:ext>
            </a:extLst>
          </p:cNvPr>
          <p:cNvSpPr/>
          <p:nvPr/>
        </p:nvSpPr>
        <p:spPr>
          <a:xfrm>
            <a:off x="8000156" y="843687"/>
            <a:ext cx="3127438" cy="373685"/>
          </a:xfrm>
          <a:prstGeom prst="roundRect">
            <a:avLst/>
          </a:prstGeom>
          <a:solidFill>
            <a:srgbClr val="F65C00"/>
          </a:solidFill>
          <a:ln w="9525" cap="rnd" cmpd="sng" algn="ctr">
            <a:solidFill>
              <a:srgbClr val="F65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Data Flow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3FBDA08F-3244-4437-9F2C-6E3F883A5127}"/>
              </a:ext>
            </a:extLst>
          </p:cNvPr>
          <p:cNvSpPr/>
          <p:nvPr/>
        </p:nvSpPr>
        <p:spPr>
          <a:xfrm>
            <a:off x="7637791" y="1655650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 Data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E17B4D83-EEFA-43F7-9C81-55A52AC587EA}"/>
              </a:ext>
            </a:extLst>
          </p:cNvPr>
          <p:cNvSpPr/>
          <p:nvPr/>
        </p:nvSpPr>
        <p:spPr>
          <a:xfrm>
            <a:off x="7637791" y="2258099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FE Portal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66441406-D272-460E-B08B-4ED4BB3CD88E}"/>
              </a:ext>
            </a:extLst>
          </p:cNvPr>
          <p:cNvSpPr/>
          <p:nvPr/>
        </p:nvSpPr>
        <p:spPr>
          <a:xfrm>
            <a:off x="7637791" y="3289075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矩形: 圆角 57">
            <a:extLst>
              <a:ext uri="{FF2B5EF4-FFF2-40B4-BE49-F238E27FC236}">
                <a16:creationId xmlns:a16="http://schemas.microsoft.com/office/drawing/2014/main" id="{59EBC8C3-AAA9-4114-98E2-578A2127CF3D}"/>
              </a:ext>
            </a:extLst>
          </p:cNvPr>
          <p:cNvSpPr/>
          <p:nvPr/>
        </p:nvSpPr>
        <p:spPr>
          <a:xfrm>
            <a:off x="7637791" y="3857379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矩形: 圆角 58">
            <a:extLst>
              <a:ext uri="{FF2B5EF4-FFF2-40B4-BE49-F238E27FC236}">
                <a16:creationId xmlns:a16="http://schemas.microsoft.com/office/drawing/2014/main" id="{489AC760-00FF-4E18-A004-B240472E8697}"/>
              </a:ext>
            </a:extLst>
          </p:cNvPr>
          <p:cNvSpPr/>
          <p:nvPr/>
        </p:nvSpPr>
        <p:spPr>
          <a:xfrm>
            <a:off x="7637791" y="4695933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S Fact</a:t>
            </a:r>
            <a:endParaRPr lang="zh-CN" altLang="en-US" sz="12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A08979F9-108E-4E00-A9C6-41EE5A7895EE}"/>
              </a:ext>
            </a:extLst>
          </p:cNvPr>
          <p:cNvSpPr/>
          <p:nvPr/>
        </p:nvSpPr>
        <p:spPr>
          <a:xfrm>
            <a:off x="7637791" y="5499520"/>
            <a:ext cx="1894111" cy="457082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658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Species_Alloc_Aligned_Sls</a:t>
            </a:r>
            <a:endParaRPr lang="zh-CN" altLang="en-US" sz="12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1170B894-EA7F-43B7-9A0C-AAC73B2C4B36}"/>
              </a:ext>
            </a:extLst>
          </p:cNvPr>
          <p:cNvSpPr/>
          <p:nvPr/>
        </p:nvSpPr>
        <p:spPr>
          <a:xfrm>
            <a:off x="7333860" y="2860548"/>
            <a:ext cx="4506683" cy="3325647"/>
          </a:xfrm>
          <a:prstGeom prst="rect">
            <a:avLst/>
          </a:prstGeom>
          <a:noFill/>
          <a:ln w="22225">
            <a:solidFill>
              <a:srgbClr val="F65C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33885E58-47AE-460C-94C9-BA9E408EAEF2}"/>
              </a:ext>
            </a:extLst>
          </p:cNvPr>
          <p:cNvSpPr txBox="1"/>
          <p:nvPr/>
        </p:nvSpPr>
        <p:spPr>
          <a:xfrm>
            <a:off x="9592709" y="1655650"/>
            <a:ext cx="11756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Source System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6822CC50-600D-4DC8-9588-CDD7EE7C34E2}"/>
              </a:ext>
            </a:extLst>
          </p:cNvPr>
          <p:cNvSpPr txBox="1"/>
          <p:nvPr/>
        </p:nvSpPr>
        <p:spPr>
          <a:xfrm>
            <a:off x="9076202" y="2893295"/>
            <a:ext cx="13389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China DDP</a:t>
            </a:r>
            <a:endParaRPr lang="zh-CN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BB22255D-D25A-476B-8BA6-AC23C3C0916E}"/>
              </a:ext>
            </a:extLst>
          </p:cNvPr>
          <p:cNvSpPr txBox="1"/>
          <p:nvPr/>
        </p:nvSpPr>
        <p:spPr>
          <a:xfrm>
            <a:off x="9592709" y="4517913"/>
            <a:ext cx="214419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658E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table 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in existing schema </a:t>
            </a:r>
          </a:p>
          <a:p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Structure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as current </a:t>
            </a:r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M Table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, for other global data requirements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15AD5C26-079E-494F-B662-A673574BB8D3}"/>
              </a:ext>
            </a:extLst>
          </p:cNvPr>
          <p:cNvSpPr txBox="1"/>
          <p:nvPr/>
        </p:nvSpPr>
        <p:spPr>
          <a:xfrm>
            <a:off x="9592709" y="3716455"/>
            <a:ext cx="2144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Fact Table, 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built based on dimensional modelling, contains dimension surrogate key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770ACFCB-C9FD-43B1-BDA8-7B3C52E7C623}"/>
              </a:ext>
            </a:extLst>
          </p:cNvPr>
          <p:cNvSpPr txBox="1"/>
          <p:nvPr/>
        </p:nvSpPr>
        <p:spPr>
          <a:xfrm>
            <a:off x="9592709" y="5355351"/>
            <a:ext cx="189411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658E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table in new schema </a:t>
            </a:r>
          </a:p>
          <a:p>
            <a:r>
              <a:rPr lang="en-US" altLang="zh-CN" sz="1100" b="1" dirty="0">
                <a:solidFill>
                  <a:srgbClr val="F65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Structure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as current Global RPT sales table</a:t>
            </a:r>
          </a:p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altLang="zh-CN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SE use only</a:t>
            </a:r>
            <a:endParaRPr lang="zh-CN" altLang="en-US" sz="11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0593951E-2876-406A-8B35-B4A3511368DB}"/>
              </a:ext>
            </a:extLst>
          </p:cNvPr>
          <p:cNvSpPr txBox="1"/>
          <p:nvPr/>
        </p:nvSpPr>
        <p:spPr>
          <a:xfrm>
            <a:off x="9592709" y="3289075"/>
            <a:ext cx="21441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Current ODS Layer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0C9EA3E9-8DA3-48E9-A009-7502EFF0D872}"/>
              </a:ext>
            </a:extLst>
          </p:cNvPr>
          <p:cNvSpPr txBox="1"/>
          <p:nvPr/>
        </p:nvSpPr>
        <p:spPr>
          <a:xfrm>
            <a:off x="9592709" y="2183451"/>
            <a:ext cx="22478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Current MDE module, for some business side manual cleansing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76AB8629-1E88-42D6-8CA8-B5E8B2FDC163}"/>
              </a:ext>
            </a:extLst>
          </p:cNvPr>
          <p:cNvCxnSpPr>
            <a:stCxn id="55" idx="2"/>
            <a:endCxn id="56" idx="0"/>
          </p:cNvCxnSpPr>
          <p:nvPr/>
        </p:nvCxnSpPr>
        <p:spPr>
          <a:xfrm>
            <a:off x="8584847" y="1973966"/>
            <a:ext cx="0" cy="284133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D3767AF1-8728-4035-BFCD-766C3A2AE16B}"/>
              </a:ext>
            </a:extLst>
          </p:cNvPr>
          <p:cNvCxnSpPr>
            <a:cxnSpLocks/>
            <a:stCxn id="56" idx="2"/>
            <a:endCxn id="57" idx="0"/>
          </p:cNvCxnSpPr>
          <p:nvPr/>
        </p:nvCxnSpPr>
        <p:spPr>
          <a:xfrm>
            <a:off x="8584847" y="2576415"/>
            <a:ext cx="0" cy="71266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>
            <a:extLst>
              <a:ext uri="{FF2B5EF4-FFF2-40B4-BE49-F238E27FC236}">
                <a16:creationId xmlns:a16="http://schemas.microsoft.com/office/drawing/2014/main" id="{626D3B9E-794C-4275-BEAB-C185B4ACCCE6}"/>
              </a:ext>
            </a:extLst>
          </p:cNvPr>
          <p:cNvCxnSpPr>
            <a:cxnSpLocks/>
            <a:stCxn id="57" idx="2"/>
            <a:endCxn id="58" idx="0"/>
          </p:cNvCxnSpPr>
          <p:nvPr/>
        </p:nvCxnSpPr>
        <p:spPr>
          <a:xfrm>
            <a:off x="8584847" y="3607391"/>
            <a:ext cx="0" cy="249988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箭头连接符 70">
            <a:extLst>
              <a:ext uri="{FF2B5EF4-FFF2-40B4-BE49-F238E27FC236}">
                <a16:creationId xmlns:a16="http://schemas.microsoft.com/office/drawing/2014/main" id="{C90088A9-ABC1-46FD-9411-F71AE9807190}"/>
              </a:ext>
            </a:extLst>
          </p:cNvPr>
          <p:cNvCxnSpPr>
            <a:cxnSpLocks/>
            <a:stCxn id="58" idx="2"/>
            <a:endCxn id="59" idx="0"/>
          </p:cNvCxnSpPr>
          <p:nvPr/>
        </p:nvCxnSpPr>
        <p:spPr>
          <a:xfrm>
            <a:off x="8584847" y="4175695"/>
            <a:ext cx="0" cy="520238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箭头连接符 73">
            <a:extLst>
              <a:ext uri="{FF2B5EF4-FFF2-40B4-BE49-F238E27FC236}">
                <a16:creationId xmlns:a16="http://schemas.microsoft.com/office/drawing/2014/main" id="{79547D43-716C-4FBE-9AB3-F4D3330211CF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>
          <a:xfrm>
            <a:off x="8584847" y="5014249"/>
            <a:ext cx="0" cy="485271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矩形: 圆角 76">
            <a:extLst>
              <a:ext uri="{FF2B5EF4-FFF2-40B4-BE49-F238E27FC236}">
                <a16:creationId xmlns:a16="http://schemas.microsoft.com/office/drawing/2014/main" id="{D7CDB642-BD33-437A-AD14-120296809D09}"/>
              </a:ext>
            </a:extLst>
          </p:cNvPr>
          <p:cNvSpPr/>
          <p:nvPr/>
        </p:nvSpPr>
        <p:spPr>
          <a:xfrm>
            <a:off x="2876128" y="1431172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T Data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矩形: 圆角 77">
            <a:extLst>
              <a:ext uri="{FF2B5EF4-FFF2-40B4-BE49-F238E27FC236}">
                <a16:creationId xmlns:a16="http://schemas.microsoft.com/office/drawing/2014/main" id="{EC3B9A52-11F8-40C6-A9E4-416A7406A44F}"/>
              </a:ext>
            </a:extLst>
          </p:cNvPr>
          <p:cNvSpPr/>
          <p:nvPr/>
        </p:nvSpPr>
        <p:spPr>
          <a:xfrm>
            <a:off x="2876128" y="1966245"/>
            <a:ext cx="1894111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FE Portal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9CB8E0FD-0C55-4418-8B6F-DDCFC73CFD4A}"/>
              </a:ext>
            </a:extLst>
          </p:cNvPr>
          <p:cNvSpPr txBox="1"/>
          <p:nvPr/>
        </p:nvSpPr>
        <p:spPr>
          <a:xfrm>
            <a:off x="547675" y="1434270"/>
            <a:ext cx="11756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Source System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552AD9F2-5F16-4C86-9855-3B6D120AD4EB}"/>
              </a:ext>
            </a:extLst>
          </p:cNvPr>
          <p:cNvSpPr txBox="1"/>
          <p:nvPr/>
        </p:nvSpPr>
        <p:spPr>
          <a:xfrm>
            <a:off x="547675" y="1894695"/>
            <a:ext cx="22478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Current MDE module, for some business side manual cleansing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1" name="直接箭头连接符 80">
            <a:extLst>
              <a:ext uri="{FF2B5EF4-FFF2-40B4-BE49-F238E27FC236}">
                <a16:creationId xmlns:a16="http://schemas.microsoft.com/office/drawing/2014/main" id="{6C2DCBCE-1662-40C5-9DC0-33B07E1B016B}"/>
              </a:ext>
            </a:extLst>
          </p:cNvPr>
          <p:cNvCxnSpPr>
            <a:cxnSpLocks/>
            <a:stCxn id="77" idx="2"/>
            <a:endCxn id="78" idx="0"/>
          </p:cNvCxnSpPr>
          <p:nvPr/>
        </p:nvCxnSpPr>
        <p:spPr>
          <a:xfrm>
            <a:off x="3823184" y="1749488"/>
            <a:ext cx="0" cy="216757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矩形: 圆角 81">
            <a:extLst>
              <a:ext uri="{FF2B5EF4-FFF2-40B4-BE49-F238E27FC236}">
                <a16:creationId xmlns:a16="http://schemas.microsoft.com/office/drawing/2014/main" id="{2B864AB4-101F-4186-83BE-A0A1A02CFC9F}"/>
              </a:ext>
            </a:extLst>
          </p:cNvPr>
          <p:cNvSpPr/>
          <p:nvPr/>
        </p:nvSpPr>
        <p:spPr>
          <a:xfrm>
            <a:off x="1915882" y="2707032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矩形: 圆角 82">
            <a:extLst>
              <a:ext uri="{FF2B5EF4-FFF2-40B4-BE49-F238E27FC236}">
                <a16:creationId xmlns:a16="http://schemas.microsoft.com/office/drawing/2014/main" id="{1C1991C5-6614-4CEA-A72D-CCA565D29A10}"/>
              </a:ext>
            </a:extLst>
          </p:cNvPr>
          <p:cNvSpPr/>
          <p:nvPr/>
        </p:nvSpPr>
        <p:spPr>
          <a:xfrm>
            <a:off x="1915882" y="3153014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FTP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80B6CD2F-ED36-4340-85F2-B05DB9D033A2}"/>
              </a:ext>
            </a:extLst>
          </p:cNvPr>
          <p:cNvSpPr/>
          <p:nvPr/>
        </p:nvSpPr>
        <p:spPr>
          <a:xfrm>
            <a:off x="1915882" y="3587819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M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矩形: 圆角 84">
            <a:extLst>
              <a:ext uri="{FF2B5EF4-FFF2-40B4-BE49-F238E27FC236}">
                <a16:creationId xmlns:a16="http://schemas.microsoft.com/office/drawing/2014/main" id="{F26CB42F-2E61-4BA8-8357-A5AC5A8F8B82}"/>
              </a:ext>
            </a:extLst>
          </p:cNvPr>
          <p:cNvSpPr/>
          <p:nvPr/>
        </p:nvSpPr>
        <p:spPr>
          <a:xfrm>
            <a:off x="4433355" y="3269741"/>
            <a:ext cx="1334926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矩形: 圆角 85">
            <a:extLst>
              <a:ext uri="{FF2B5EF4-FFF2-40B4-BE49-F238E27FC236}">
                <a16:creationId xmlns:a16="http://schemas.microsoft.com/office/drawing/2014/main" id="{E63AD605-3090-45B1-BE20-6F794C9B58B0}"/>
              </a:ext>
            </a:extLst>
          </p:cNvPr>
          <p:cNvSpPr/>
          <p:nvPr/>
        </p:nvSpPr>
        <p:spPr>
          <a:xfrm>
            <a:off x="4433355" y="3857386"/>
            <a:ext cx="1334926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0" name="直接箭头连接符 89">
            <a:extLst>
              <a:ext uri="{FF2B5EF4-FFF2-40B4-BE49-F238E27FC236}">
                <a16:creationId xmlns:a16="http://schemas.microsoft.com/office/drawing/2014/main" id="{984DFDD0-E73C-46E8-8D20-4E68EC7E1296}"/>
              </a:ext>
            </a:extLst>
          </p:cNvPr>
          <p:cNvCxnSpPr>
            <a:cxnSpLocks/>
            <a:stCxn id="85" idx="2"/>
            <a:endCxn id="86" idx="0"/>
          </p:cNvCxnSpPr>
          <p:nvPr/>
        </p:nvCxnSpPr>
        <p:spPr>
          <a:xfrm>
            <a:off x="5100818" y="3594669"/>
            <a:ext cx="0" cy="262717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矩形 90">
            <a:extLst>
              <a:ext uri="{FF2B5EF4-FFF2-40B4-BE49-F238E27FC236}">
                <a16:creationId xmlns:a16="http://schemas.microsoft.com/office/drawing/2014/main" id="{28B96613-FD87-4F85-9F53-3E7CE6CCD607}"/>
              </a:ext>
            </a:extLst>
          </p:cNvPr>
          <p:cNvSpPr/>
          <p:nvPr/>
        </p:nvSpPr>
        <p:spPr>
          <a:xfrm>
            <a:off x="4275683" y="2707032"/>
            <a:ext cx="2749762" cy="2277035"/>
          </a:xfrm>
          <a:prstGeom prst="rect">
            <a:avLst/>
          </a:prstGeom>
          <a:noFill/>
          <a:ln w="22225">
            <a:solidFill>
              <a:srgbClr val="F65C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710C0508-5331-48B7-9C35-9A1A306195DA}"/>
              </a:ext>
            </a:extLst>
          </p:cNvPr>
          <p:cNvSpPr txBox="1"/>
          <p:nvPr/>
        </p:nvSpPr>
        <p:spPr>
          <a:xfrm>
            <a:off x="5024096" y="2776203"/>
            <a:ext cx="13389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China DDP</a:t>
            </a:r>
            <a:endParaRPr lang="zh-CN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矩形: 圆角 93">
            <a:extLst>
              <a:ext uri="{FF2B5EF4-FFF2-40B4-BE49-F238E27FC236}">
                <a16:creationId xmlns:a16="http://schemas.microsoft.com/office/drawing/2014/main" id="{265DF7BC-A348-4306-9145-D19F814B2E6E}"/>
              </a:ext>
            </a:extLst>
          </p:cNvPr>
          <p:cNvSpPr/>
          <p:nvPr/>
        </p:nvSpPr>
        <p:spPr>
          <a:xfrm>
            <a:off x="1915882" y="5448019"/>
            <a:ext cx="1573200" cy="479789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Species_Alloc_Aligned_Sl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矩形: 圆角 94">
            <a:extLst>
              <a:ext uri="{FF2B5EF4-FFF2-40B4-BE49-F238E27FC236}">
                <a16:creationId xmlns:a16="http://schemas.microsoft.com/office/drawing/2014/main" id="{851993E2-E57F-4B1C-94F5-C5E2126FD57B}"/>
              </a:ext>
            </a:extLst>
          </p:cNvPr>
          <p:cNvSpPr/>
          <p:nvPr/>
        </p:nvSpPr>
        <p:spPr>
          <a:xfrm>
            <a:off x="1915882" y="4415834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G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矩形: 圆角 96">
            <a:extLst>
              <a:ext uri="{FF2B5EF4-FFF2-40B4-BE49-F238E27FC236}">
                <a16:creationId xmlns:a16="http://schemas.microsoft.com/office/drawing/2014/main" id="{2157BA06-51F5-4CE2-AB61-4A1240443CC7}"/>
              </a:ext>
            </a:extLst>
          </p:cNvPr>
          <p:cNvSpPr/>
          <p:nvPr/>
        </p:nvSpPr>
        <p:spPr>
          <a:xfrm>
            <a:off x="1915882" y="4933223"/>
            <a:ext cx="1573200" cy="31831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9" name="连接符: 肘形 98">
            <a:extLst>
              <a:ext uri="{FF2B5EF4-FFF2-40B4-BE49-F238E27FC236}">
                <a16:creationId xmlns:a16="http://schemas.microsoft.com/office/drawing/2014/main" id="{BA960CD7-9E0A-4303-9D73-8C7726D154E9}"/>
              </a:ext>
            </a:extLst>
          </p:cNvPr>
          <p:cNvCxnSpPr>
            <a:stCxn id="78" idx="2"/>
            <a:endCxn id="82" idx="0"/>
          </p:cNvCxnSpPr>
          <p:nvPr/>
        </p:nvCxnSpPr>
        <p:spPr>
          <a:xfrm rot="5400000">
            <a:off x="3051598" y="1935445"/>
            <a:ext cx="422471" cy="1120702"/>
          </a:xfrm>
          <a:prstGeom prst="bentConnector3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接箭头连接符 102">
            <a:extLst>
              <a:ext uri="{FF2B5EF4-FFF2-40B4-BE49-F238E27FC236}">
                <a16:creationId xmlns:a16="http://schemas.microsoft.com/office/drawing/2014/main" id="{07848AE7-5E17-425F-80DD-DFFE92FB1C6A}"/>
              </a:ext>
            </a:extLst>
          </p:cNvPr>
          <p:cNvCxnSpPr>
            <a:cxnSpLocks/>
            <a:stCxn id="82" idx="2"/>
            <a:endCxn id="83" idx="0"/>
          </p:cNvCxnSpPr>
          <p:nvPr/>
        </p:nvCxnSpPr>
        <p:spPr>
          <a:xfrm>
            <a:off x="2702482" y="3025348"/>
            <a:ext cx="0" cy="127666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直接箭头连接符 105">
            <a:extLst>
              <a:ext uri="{FF2B5EF4-FFF2-40B4-BE49-F238E27FC236}">
                <a16:creationId xmlns:a16="http://schemas.microsoft.com/office/drawing/2014/main" id="{0A3CE403-EB91-4DFF-AD4C-AD458B941C87}"/>
              </a:ext>
            </a:extLst>
          </p:cNvPr>
          <p:cNvCxnSpPr>
            <a:cxnSpLocks/>
            <a:stCxn id="83" idx="2"/>
            <a:endCxn id="84" idx="0"/>
          </p:cNvCxnSpPr>
          <p:nvPr/>
        </p:nvCxnSpPr>
        <p:spPr>
          <a:xfrm>
            <a:off x="2702482" y="3471330"/>
            <a:ext cx="0" cy="116489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直接箭头连接符 108">
            <a:extLst>
              <a:ext uri="{FF2B5EF4-FFF2-40B4-BE49-F238E27FC236}">
                <a16:creationId xmlns:a16="http://schemas.microsoft.com/office/drawing/2014/main" id="{6D25F7D4-1307-47D2-9DE4-7A54DF52B7E2}"/>
              </a:ext>
            </a:extLst>
          </p:cNvPr>
          <p:cNvCxnSpPr>
            <a:cxnSpLocks/>
            <a:stCxn id="84" idx="2"/>
            <a:endCxn id="95" idx="0"/>
          </p:cNvCxnSpPr>
          <p:nvPr/>
        </p:nvCxnSpPr>
        <p:spPr>
          <a:xfrm>
            <a:off x="2702482" y="3906135"/>
            <a:ext cx="0" cy="509699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箭头连接符 111">
            <a:extLst>
              <a:ext uri="{FF2B5EF4-FFF2-40B4-BE49-F238E27FC236}">
                <a16:creationId xmlns:a16="http://schemas.microsoft.com/office/drawing/2014/main" id="{9C1356B9-9061-4AA2-A890-93D91DFC4F7B}"/>
              </a:ext>
            </a:extLst>
          </p:cNvPr>
          <p:cNvCxnSpPr>
            <a:cxnSpLocks/>
            <a:stCxn id="95" idx="2"/>
            <a:endCxn id="97" idx="0"/>
          </p:cNvCxnSpPr>
          <p:nvPr/>
        </p:nvCxnSpPr>
        <p:spPr>
          <a:xfrm>
            <a:off x="2702482" y="4734150"/>
            <a:ext cx="0" cy="199073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直接箭头连接符 114">
            <a:extLst>
              <a:ext uri="{FF2B5EF4-FFF2-40B4-BE49-F238E27FC236}">
                <a16:creationId xmlns:a16="http://schemas.microsoft.com/office/drawing/2014/main" id="{819591E3-5DD6-4F00-92FF-5774329DD57F}"/>
              </a:ext>
            </a:extLst>
          </p:cNvPr>
          <p:cNvCxnSpPr>
            <a:cxnSpLocks/>
            <a:stCxn id="97" idx="2"/>
            <a:endCxn id="94" idx="0"/>
          </p:cNvCxnSpPr>
          <p:nvPr/>
        </p:nvCxnSpPr>
        <p:spPr>
          <a:xfrm>
            <a:off x="2702482" y="5251539"/>
            <a:ext cx="0" cy="19648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矩形: 圆角 119">
            <a:extLst>
              <a:ext uri="{FF2B5EF4-FFF2-40B4-BE49-F238E27FC236}">
                <a16:creationId xmlns:a16="http://schemas.microsoft.com/office/drawing/2014/main" id="{D3A5FD9C-2CFD-41F3-A20E-78FBF52B0FB5}"/>
              </a:ext>
            </a:extLst>
          </p:cNvPr>
          <p:cNvSpPr/>
          <p:nvPr/>
        </p:nvSpPr>
        <p:spPr>
          <a:xfrm>
            <a:off x="4437400" y="4445030"/>
            <a:ext cx="1334926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S Fact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3" name="直接箭头连接符 122">
            <a:extLst>
              <a:ext uri="{FF2B5EF4-FFF2-40B4-BE49-F238E27FC236}">
                <a16:creationId xmlns:a16="http://schemas.microsoft.com/office/drawing/2014/main" id="{3A8ADD77-5061-4641-A770-277F32F39720}"/>
              </a:ext>
            </a:extLst>
          </p:cNvPr>
          <p:cNvCxnSpPr>
            <a:cxnSpLocks/>
            <a:stCxn id="86" idx="2"/>
            <a:endCxn id="120" idx="0"/>
          </p:cNvCxnSpPr>
          <p:nvPr/>
        </p:nvCxnSpPr>
        <p:spPr>
          <a:xfrm>
            <a:off x="5100818" y="4182314"/>
            <a:ext cx="4045" cy="262716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文本框 126">
            <a:extLst>
              <a:ext uri="{FF2B5EF4-FFF2-40B4-BE49-F238E27FC236}">
                <a16:creationId xmlns:a16="http://schemas.microsoft.com/office/drawing/2014/main" id="{D46F6BD9-8F19-4DB5-AAD4-37D5AABA9F77}"/>
              </a:ext>
            </a:extLst>
          </p:cNvPr>
          <p:cNvSpPr txBox="1"/>
          <p:nvPr/>
        </p:nvSpPr>
        <p:spPr>
          <a:xfrm>
            <a:off x="572263" y="2726776"/>
            <a:ext cx="11639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Export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F6747E72-B749-42A4-AE98-330B10E6EDCC}"/>
              </a:ext>
            </a:extLst>
          </p:cNvPr>
          <p:cNvSpPr txBox="1"/>
          <p:nvPr/>
        </p:nvSpPr>
        <p:spPr>
          <a:xfrm>
            <a:off x="547675" y="3174256"/>
            <a:ext cx="11639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</a:t>
            </a:r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 Upload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矩形: 圆角 130">
            <a:extLst>
              <a:ext uri="{FF2B5EF4-FFF2-40B4-BE49-F238E27FC236}">
                <a16:creationId xmlns:a16="http://schemas.microsoft.com/office/drawing/2014/main" id="{69E77D90-F243-43ED-BD9D-342000D78A31}"/>
              </a:ext>
            </a:extLst>
          </p:cNvPr>
          <p:cNvSpPr/>
          <p:nvPr/>
        </p:nvSpPr>
        <p:spPr>
          <a:xfrm>
            <a:off x="5914232" y="3857387"/>
            <a:ext cx="868482" cy="32492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W Dim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箭头: 下 132">
            <a:extLst>
              <a:ext uri="{FF2B5EF4-FFF2-40B4-BE49-F238E27FC236}">
                <a16:creationId xmlns:a16="http://schemas.microsoft.com/office/drawing/2014/main" id="{665F0887-0F20-4162-97DD-227B04721027}"/>
              </a:ext>
            </a:extLst>
          </p:cNvPr>
          <p:cNvSpPr/>
          <p:nvPr/>
        </p:nvSpPr>
        <p:spPr>
          <a:xfrm>
            <a:off x="5056519" y="4984067"/>
            <a:ext cx="223351" cy="355095"/>
          </a:xfrm>
          <a:prstGeom prst="downArrow">
            <a:avLst/>
          </a:prstGeom>
          <a:solidFill>
            <a:srgbClr val="015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4" name="箭头: 下 133">
            <a:extLst>
              <a:ext uri="{FF2B5EF4-FFF2-40B4-BE49-F238E27FC236}">
                <a16:creationId xmlns:a16="http://schemas.microsoft.com/office/drawing/2014/main" id="{67F59C5F-615B-4DD6-9CF4-84B1AC3906F8}"/>
              </a:ext>
            </a:extLst>
          </p:cNvPr>
          <p:cNvSpPr/>
          <p:nvPr/>
        </p:nvSpPr>
        <p:spPr>
          <a:xfrm>
            <a:off x="5976185" y="4984067"/>
            <a:ext cx="223351" cy="355095"/>
          </a:xfrm>
          <a:prstGeom prst="downArrow">
            <a:avLst/>
          </a:prstGeom>
          <a:solidFill>
            <a:srgbClr val="015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5" name="矩形: 圆角 134">
            <a:extLst>
              <a:ext uri="{FF2B5EF4-FFF2-40B4-BE49-F238E27FC236}">
                <a16:creationId xmlns:a16="http://schemas.microsoft.com/office/drawing/2014/main" id="{A06CB29E-8F48-4000-A531-673337D4ACE5}"/>
              </a:ext>
            </a:extLst>
          </p:cNvPr>
          <p:cNvSpPr/>
          <p:nvPr/>
        </p:nvSpPr>
        <p:spPr>
          <a:xfrm>
            <a:off x="4286836" y="5359063"/>
            <a:ext cx="2628966" cy="42675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BI Dashboards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矩形 135">
            <a:extLst>
              <a:ext uri="{FF2B5EF4-FFF2-40B4-BE49-F238E27FC236}">
                <a16:creationId xmlns:a16="http://schemas.microsoft.com/office/drawing/2014/main" id="{57343651-1C89-4677-9E3F-3993852A68BF}"/>
              </a:ext>
            </a:extLst>
          </p:cNvPr>
          <p:cNvSpPr/>
          <p:nvPr/>
        </p:nvSpPr>
        <p:spPr>
          <a:xfrm>
            <a:off x="279137" y="4085792"/>
            <a:ext cx="3481011" cy="2526764"/>
          </a:xfrm>
          <a:prstGeom prst="rect">
            <a:avLst/>
          </a:prstGeom>
          <a:noFill/>
          <a:ln w="22225">
            <a:solidFill>
              <a:srgbClr val="658E4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CN" alt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文本框 136">
            <a:extLst>
              <a:ext uri="{FF2B5EF4-FFF2-40B4-BE49-F238E27FC236}">
                <a16:creationId xmlns:a16="http://schemas.microsoft.com/office/drawing/2014/main" id="{7C837DA6-9159-4371-9DCF-EC04425D5F7C}"/>
              </a:ext>
            </a:extLst>
          </p:cNvPr>
          <p:cNvSpPr txBox="1"/>
          <p:nvPr/>
        </p:nvSpPr>
        <p:spPr>
          <a:xfrm>
            <a:off x="1293224" y="4095576"/>
            <a:ext cx="1181933" cy="30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Global DDP</a:t>
            </a:r>
            <a:endParaRPr lang="zh-CN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8" name="连接符: 肘形 137">
            <a:extLst>
              <a:ext uri="{FF2B5EF4-FFF2-40B4-BE49-F238E27FC236}">
                <a16:creationId xmlns:a16="http://schemas.microsoft.com/office/drawing/2014/main" id="{471983DF-77C3-41F0-9864-2EA39CA53B19}"/>
              </a:ext>
            </a:extLst>
          </p:cNvPr>
          <p:cNvCxnSpPr>
            <a:cxnSpLocks/>
            <a:stCxn id="78" idx="2"/>
            <a:endCxn id="91" idx="0"/>
          </p:cNvCxnSpPr>
          <p:nvPr/>
        </p:nvCxnSpPr>
        <p:spPr>
          <a:xfrm rot="16200000" flipH="1">
            <a:off x="4525639" y="1582106"/>
            <a:ext cx="422471" cy="1827380"/>
          </a:xfrm>
          <a:prstGeom prst="bentConnector3">
            <a:avLst>
              <a:gd name="adj1" fmla="val 50000"/>
            </a:avLst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文本框 142">
            <a:extLst>
              <a:ext uri="{FF2B5EF4-FFF2-40B4-BE49-F238E27FC236}">
                <a16:creationId xmlns:a16="http://schemas.microsoft.com/office/drawing/2014/main" id="{B7D86290-C325-48D3-B4B5-511EB212A757}"/>
              </a:ext>
            </a:extLst>
          </p:cNvPr>
          <p:cNvSpPr txBox="1"/>
          <p:nvPr/>
        </p:nvSpPr>
        <p:spPr>
          <a:xfrm>
            <a:off x="362511" y="4367146"/>
            <a:ext cx="13702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Data Staging and Error Detect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文本框 144">
            <a:extLst>
              <a:ext uri="{FF2B5EF4-FFF2-40B4-BE49-F238E27FC236}">
                <a16:creationId xmlns:a16="http://schemas.microsoft.com/office/drawing/2014/main" id="{376283C8-576F-4E6F-9D39-65780A10251B}"/>
              </a:ext>
            </a:extLst>
          </p:cNvPr>
          <p:cNvSpPr txBox="1"/>
          <p:nvPr/>
        </p:nvSpPr>
        <p:spPr>
          <a:xfrm>
            <a:off x="362511" y="4867468"/>
            <a:ext cx="15255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Global Data Warehouse Modeling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文本框 145">
            <a:extLst>
              <a:ext uri="{FF2B5EF4-FFF2-40B4-BE49-F238E27FC236}">
                <a16:creationId xmlns:a16="http://schemas.microsoft.com/office/drawing/2014/main" id="{8BE75D53-136A-445B-BA85-4230AD6448D4}"/>
              </a:ext>
            </a:extLst>
          </p:cNvPr>
          <p:cNvSpPr txBox="1"/>
          <p:nvPr/>
        </p:nvSpPr>
        <p:spPr>
          <a:xfrm>
            <a:off x="362511" y="5540993"/>
            <a:ext cx="15255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latin typeface="Arial" panose="020B0604020202020204" pitchFamily="34" charset="0"/>
                <a:cs typeface="Arial" panose="020B0604020202020204" pitchFamily="34" charset="0"/>
              </a:rPr>
              <a:t>NGSE Data Table</a:t>
            </a: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箭头: 下 147">
            <a:extLst>
              <a:ext uri="{FF2B5EF4-FFF2-40B4-BE49-F238E27FC236}">
                <a16:creationId xmlns:a16="http://schemas.microsoft.com/office/drawing/2014/main" id="{D6DB07B0-0C56-4E07-A88D-39C7A1EA03C1}"/>
              </a:ext>
            </a:extLst>
          </p:cNvPr>
          <p:cNvSpPr/>
          <p:nvPr/>
        </p:nvSpPr>
        <p:spPr>
          <a:xfrm>
            <a:off x="2557708" y="5947892"/>
            <a:ext cx="289547" cy="228665"/>
          </a:xfrm>
          <a:prstGeom prst="downArrow">
            <a:avLst/>
          </a:prstGeom>
          <a:solidFill>
            <a:srgbClr val="015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矩形: 圆角 148">
            <a:extLst>
              <a:ext uri="{FF2B5EF4-FFF2-40B4-BE49-F238E27FC236}">
                <a16:creationId xmlns:a16="http://schemas.microsoft.com/office/drawing/2014/main" id="{EF21F9CA-0FAA-4202-90AE-130B76993F26}"/>
              </a:ext>
            </a:extLst>
          </p:cNvPr>
          <p:cNvSpPr/>
          <p:nvPr/>
        </p:nvSpPr>
        <p:spPr>
          <a:xfrm>
            <a:off x="362511" y="6185267"/>
            <a:ext cx="3143965" cy="3056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NA and Following Data Processing</a:t>
            </a:r>
            <a:endParaRPr lang="zh-CN" alt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文本框 149">
            <a:extLst>
              <a:ext uri="{FF2B5EF4-FFF2-40B4-BE49-F238E27FC236}">
                <a16:creationId xmlns:a16="http://schemas.microsoft.com/office/drawing/2014/main" id="{D90C72BB-93D6-4043-AB36-F8C4D7751281}"/>
              </a:ext>
            </a:extLst>
          </p:cNvPr>
          <p:cNvSpPr txBox="1"/>
          <p:nvPr/>
        </p:nvSpPr>
        <p:spPr>
          <a:xfrm>
            <a:off x="5768854" y="4411456"/>
            <a:ext cx="13954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Arial" panose="020B0604020202020204" pitchFamily="34" charset="0"/>
                <a:cs typeface="Arial" panose="020B0604020202020204" pitchFamily="34" charset="0"/>
              </a:rPr>
              <a:t>Similar to Datamart </a:t>
            </a:r>
          </a:p>
          <a:p>
            <a:r>
              <a:rPr lang="en-US" altLang="zh-CN" sz="1000" dirty="0">
                <a:latin typeface="Arial" panose="020B0604020202020204" pitchFamily="34" charset="0"/>
                <a:cs typeface="Arial" panose="020B0604020202020204" pitchFamily="34" charset="0"/>
              </a:rPr>
              <a:t>Do pre-calculating</a:t>
            </a:r>
            <a:endParaRPr lang="zh-CN" alt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078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0CDAA25A-7C23-4EFE-8F66-F2EDFCF86D99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Indirect Sales - Next Ac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E60CAF-A9A2-4A0E-BA6A-AF11950FBF6D}"/>
              </a:ext>
            </a:extLst>
          </p:cNvPr>
          <p:cNvSpPr/>
          <p:nvPr/>
        </p:nvSpPr>
        <p:spPr>
          <a:xfrm>
            <a:off x="1714500" y="1125049"/>
            <a:ext cx="3333143" cy="24384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Next Action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接入新系统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接入旧系统新表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在原有</a:t>
            </a:r>
            <a:r>
              <a:rPr lang="en-US" altLang="zh-CN" sz="1400" b="1" dirty="0">
                <a:solidFill>
                  <a:schemeClr val="tx1"/>
                </a:solidFill>
              </a:rPr>
              <a:t>DDP</a:t>
            </a:r>
            <a:r>
              <a:rPr lang="zh-CN" altLang="en-US" sz="1400" b="1" dirty="0">
                <a:solidFill>
                  <a:schemeClr val="tx1"/>
                </a:solidFill>
              </a:rPr>
              <a:t>中新增表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在原有</a:t>
            </a:r>
            <a:r>
              <a:rPr lang="en-US" altLang="zh-CN" sz="1400" b="1" dirty="0">
                <a:solidFill>
                  <a:schemeClr val="tx1"/>
                </a:solidFill>
              </a:rPr>
              <a:t>DDP</a:t>
            </a:r>
            <a:r>
              <a:rPr lang="zh-CN" altLang="en-US" sz="1400" b="1" dirty="0">
                <a:solidFill>
                  <a:schemeClr val="tx1"/>
                </a:solidFill>
              </a:rPr>
              <a:t>原有表中新增字段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新增计算逻辑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手工维护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………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60F71F1-BB9A-46E3-8AD5-55B5DE3832FE}"/>
              </a:ext>
            </a:extLst>
          </p:cNvPr>
          <p:cNvSpPr/>
          <p:nvPr/>
        </p:nvSpPr>
        <p:spPr>
          <a:xfrm>
            <a:off x="7144357" y="1125049"/>
            <a:ext cx="3333143" cy="24384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Owner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China ZTD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Global ZTD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China Business Team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………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B0C9A63-0B23-461C-A51D-7991A8312104}"/>
              </a:ext>
            </a:extLst>
          </p:cNvPr>
          <p:cNvSpPr/>
          <p:nvPr/>
        </p:nvSpPr>
        <p:spPr>
          <a:xfrm>
            <a:off x="502257" y="4005329"/>
            <a:ext cx="10711843" cy="2331971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imeline</a:t>
            </a: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Task</a:t>
            </a:r>
            <a:r>
              <a:rPr lang="zh-CN" altLang="en-US" sz="1400" b="1" dirty="0">
                <a:solidFill>
                  <a:schemeClr val="tx1"/>
                </a:solidFill>
              </a:rPr>
              <a:t>之间的</a:t>
            </a:r>
            <a:r>
              <a:rPr lang="en-US" altLang="zh-CN" sz="1400" b="1" dirty="0">
                <a:solidFill>
                  <a:schemeClr val="tx1"/>
                </a:solidFill>
              </a:rPr>
              <a:t>dependency</a:t>
            </a: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每件事情的完成时间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时间轴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每个</a:t>
            </a:r>
            <a:r>
              <a:rPr lang="en-US" altLang="zh-CN" sz="1400" b="1" dirty="0">
                <a:solidFill>
                  <a:schemeClr val="tx1"/>
                </a:solidFill>
              </a:rPr>
              <a:t>module</a:t>
            </a:r>
            <a:r>
              <a:rPr lang="zh-CN" altLang="en-US" sz="1400" b="1" dirty="0">
                <a:solidFill>
                  <a:schemeClr val="tx1"/>
                </a:solidFill>
              </a:rPr>
              <a:t>有单独的详细计划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r>
              <a:rPr lang="zh-CN" altLang="en-US" sz="1400" b="1" dirty="0">
                <a:solidFill>
                  <a:schemeClr val="tx1"/>
                </a:solidFill>
              </a:rPr>
              <a:t>整份</a:t>
            </a:r>
            <a:r>
              <a:rPr lang="en-US" altLang="zh-CN" sz="1400" b="1" dirty="0">
                <a:solidFill>
                  <a:schemeClr val="tx1"/>
                </a:solidFill>
              </a:rPr>
              <a:t>report</a:t>
            </a:r>
            <a:r>
              <a:rPr lang="zh-CN" altLang="en-US" sz="1400" b="1" dirty="0">
                <a:solidFill>
                  <a:schemeClr val="tx1"/>
                </a:solidFill>
              </a:rPr>
              <a:t>最后会有总体的</a:t>
            </a:r>
            <a:r>
              <a:rPr lang="en-US" altLang="zh-CN" sz="1400" b="1" dirty="0">
                <a:solidFill>
                  <a:schemeClr val="tx1"/>
                </a:solidFill>
              </a:rPr>
              <a:t>2024</a:t>
            </a:r>
            <a:r>
              <a:rPr lang="zh-CN" altLang="en-US" sz="1400" b="1" dirty="0">
                <a:solidFill>
                  <a:schemeClr val="tx1"/>
                </a:solidFill>
              </a:rPr>
              <a:t>计划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algn="ctr"/>
            <a:endParaRPr lang="en-US" altLang="zh-CN" sz="1400" b="1" dirty="0">
              <a:solidFill>
                <a:schemeClr val="tx1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C2115E7-AEFE-48D2-9B01-08D242162B9A}"/>
              </a:ext>
            </a:extLst>
          </p:cNvPr>
          <p:cNvSpPr/>
          <p:nvPr/>
        </p:nvSpPr>
        <p:spPr>
          <a:xfrm>
            <a:off x="3282120" y="2606907"/>
            <a:ext cx="5627760" cy="2354964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TO BE DISCUESS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557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4DF943CA-983F-AFCF-FF18-A8D5AB1A3E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080" y="162708"/>
            <a:ext cx="7961905" cy="4133333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B53F76E5-816A-BD68-A27E-02C81A44E491}"/>
              </a:ext>
            </a:extLst>
          </p:cNvPr>
          <p:cNvSpPr/>
          <p:nvPr/>
        </p:nvSpPr>
        <p:spPr>
          <a:xfrm>
            <a:off x="5205188" y="3709843"/>
            <a:ext cx="5627760" cy="2354964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第一页先写结论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+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后续步骤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956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55D26E-BD92-4188-8559-6FB6617351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55D26E-BD92-4188-8559-6FB6617351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F943A693-A8E8-43BB-B4C0-18770F541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bjectives of Assessment Report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41AF3EC-61E1-42AC-BFF5-36AEB9696D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41AF3EC-61E1-42AC-BFF5-36AEB969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>
            <a:extLst>
              <a:ext uri="{FF2B5EF4-FFF2-40B4-BE49-F238E27FC236}">
                <a16:creationId xmlns:a16="http://schemas.microsoft.com/office/drawing/2014/main" id="{7E23DB13-769A-4161-840F-420383AAA4B3}"/>
              </a:ext>
            </a:extLst>
          </p:cNvPr>
          <p:cNvSpPr/>
          <p:nvPr/>
        </p:nvSpPr>
        <p:spPr>
          <a:xfrm>
            <a:off x="4328159" y="465217"/>
            <a:ext cx="7145681" cy="586042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200" b="1" dirty="0">
                <a:solidFill>
                  <a:srgbClr val="0070C0"/>
                </a:solidFill>
              </a:rPr>
              <a:t>总体</a:t>
            </a:r>
            <a:r>
              <a:rPr lang="en-US" altLang="zh-CN" sz="1200" b="1" dirty="0">
                <a:solidFill>
                  <a:srgbClr val="0070C0"/>
                </a:solidFill>
              </a:rPr>
              <a:t>Storyline</a:t>
            </a:r>
          </a:p>
          <a:p>
            <a:r>
              <a:rPr lang="en-US" altLang="zh-CN" sz="1050" b="1" dirty="0">
                <a:solidFill>
                  <a:srgbClr val="C00000"/>
                </a:solidFill>
              </a:rPr>
              <a:t>Project Background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是什么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一些</a:t>
            </a:r>
            <a:r>
              <a:rPr lang="en-US" altLang="zh-CN" sz="1000" dirty="0">
                <a:solidFill>
                  <a:srgbClr val="37373A"/>
                </a:solidFill>
              </a:rPr>
              <a:t>high level </a:t>
            </a:r>
            <a:r>
              <a:rPr lang="zh-CN" altLang="en-US" sz="1000" dirty="0">
                <a:solidFill>
                  <a:srgbClr val="37373A"/>
                </a:solidFill>
              </a:rPr>
              <a:t>假大空的话，能为销售代表带来什么样的价值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zh-CN" altLang="en-US" sz="1000" dirty="0">
                <a:solidFill>
                  <a:srgbClr val="37373A"/>
                </a:solidFill>
              </a:rPr>
              <a:t>为什么要做</a:t>
            </a:r>
            <a:r>
              <a:rPr lang="en-US" altLang="zh-CN" sz="1000" dirty="0">
                <a:solidFill>
                  <a:srgbClr val="37373A"/>
                </a:solidFill>
              </a:rPr>
              <a:t>NGSE China – </a:t>
            </a:r>
            <a:r>
              <a:rPr lang="zh-CN" altLang="en-US" sz="1000" dirty="0">
                <a:solidFill>
                  <a:srgbClr val="37373A"/>
                </a:solidFill>
              </a:rPr>
              <a:t>在</a:t>
            </a:r>
            <a:r>
              <a:rPr lang="en-US" altLang="zh-CN" sz="1000" dirty="0">
                <a:solidFill>
                  <a:srgbClr val="37373A"/>
                </a:solidFill>
              </a:rPr>
              <a:t>US</a:t>
            </a:r>
            <a:r>
              <a:rPr lang="zh-CN" altLang="en-US" sz="1000" dirty="0">
                <a:solidFill>
                  <a:srgbClr val="37373A"/>
                </a:solidFill>
              </a:rPr>
              <a:t>和其他国家已经收获了较大成效，但由于中国数据安全法的原因，如果想要落地则需要进行本土化实施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是通过什么方式来实现预测的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实际最终就是基于销售、产品、客户、活动等数据，</a:t>
            </a:r>
            <a:r>
              <a:rPr lang="zh-CN" altLang="en-US" sz="1000" dirty="0">
                <a:solidFill>
                  <a:schemeClr val="tx1"/>
                </a:solidFill>
              </a:rPr>
              <a:t>计算多个标签 </a:t>
            </a:r>
            <a:r>
              <a:rPr lang="en-US" altLang="zh-CN" sz="1000" dirty="0" err="1">
                <a:solidFill>
                  <a:srgbClr val="37373A"/>
                </a:solidFill>
              </a:rPr>
              <a:t>eg</a:t>
            </a:r>
            <a:r>
              <a:rPr lang="zh-CN" altLang="en-US" sz="1000" dirty="0">
                <a:solidFill>
                  <a:srgbClr val="37373A"/>
                </a:solidFill>
              </a:rPr>
              <a:t>：</a:t>
            </a:r>
            <a:r>
              <a:rPr lang="en-US" altLang="zh-CN" sz="1000" dirty="0">
                <a:solidFill>
                  <a:srgbClr val="37373A"/>
                </a:solidFill>
              </a:rPr>
              <a:t>New Product Purchased Flag</a:t>
            </a:r>
            <a:r>
              <a:rPr lang="zh-CN" altLang="en-US" sz="1000" dirty="0">
                <a:solidFill>
                  <a:srgbClr val="37373A"/>
                </a:solidFill>
              </a:rPr>
              <a:t>（客户在过去</a:t>
            </a:r>
            <a:r>
              <a:rPr lang="en-US" altLang="zh-CN" sz="1000" dirty="0">
                <a:solidFill>
                  <a:srgbClr val="37373A"/>
                </a:solidFill>
              </a:rPr>
              <a:t>24</a:t>
            </a:r>
            <a:r>
              <a:rPr lang="zh-CN" altLang="en-US" sz="1000" dirty="0">
                <a:solidFill>
                  <a:srgbClr val="37373A"/>
                </a:solidFill>
              </a:rPr>
              <a:t>个月从来没买过的品牌，突然在</a:t>
            </a:r>
            <a:r>
              <a:rPr lang="en-US" altLang="zh-CN" sz="1000" dirty="0">
                <a:solidFill>
                  <a:srgbClr val="37373A"/>
                </a:solidFill>
              </a:rPr>
              <a:t>8</a:t>
            </a:r>
            <a:r>
              <a:rPr lang="zh-CN" altLang="en-US" sz="1000" dirty="0">
                <a:solidFill>
                  <a:srgbClr val="37373A"/>
                </a:solidFill>
              </a:rPr>
              <a:t>周内购买了）、</a:t>
            </a:r>
            <a:r>
              <a:rPr lang="en-US" altLang="zh-CN" sz="1000" dirty="0">
                <a:solidFill>
                  <a:srgbClr val="37373A"/>
                </a:solidFill>
              </a:rPr>
              <a:t>Up sell Flag</a:t>
            </a:r>
            <a:r>
              <a:rPr lang="zh-CN" altLang="en-US" sz="1000" dirty="0">
                <a:solidFill>
                  <a:srgbClr val="37373A"/>
                </a:solidFill>
              </a:rPr>
              <a:t>（基于客户历史销售数据，试图卖给客户额外或更贵的品牌）</a:t>
            </a:r>
            <a:r>
              <a:rPr lang="en-US" altLang="zh-CN" sz="1000" dirty="0">
                <a:solidFill>
                  <a:srgbClr val="37373A"/>
                </a:solidFill>
              </a:rPr>
              <a:t>…….</a:t>
            </a:r>
          </a:p>
          <a:p>
            <a:pPr marL="228600" indent="-228600">
              <a:buAutoNum type="arabicPeriod"/>
            </a:pPr>
            <a:r>
              <a:rPr lang="zh-CN" altLang="en-US" sz="1000" dirty="0">
                <a:solidFill>
                  <a:srgbClr val="37373A"/>
                </a:solidFill>
              </a:rPr>
              <a:t>所以显然要计算出这些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，我们就得有销售、产品、客户、活动等数据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zh-CN" altLang="en-US" sz="1000" dirty="0">
                <a:solidFill>
                  <a:srgbClr val="37373A"/>
                </a:solidFill>
              </a:rPr>
              <a:t>为什么中国有单独的</a:t>
            </a:r>
            <a:r>
              <a:rPr lang="en-US" altLang="zh-CN" sz="1000" dirty="0">
                <a:solidFill>
                  <a:srgbClr val="37373A"/>
                </a:solidFill>
              </a:rPr>
              <a:t>data assessment</a:t>
            </a:r>
            <a:r>
              <a:rPr lang="zh-CN" altLang="en-US" sz="1000" dirty="0">
                <a:solidFill>
                  <a:srgbClr val="37373A"/>
                </a:solidFill>
              </a:rPr>
              <a:t>过程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销售模式和使用的业务系统不同，导致同一个数据主题域下的数据结构和内容差异大，需要评估现有数据是否满足</a:t>
            </a: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要求</a:t>
            </a:r>
            <a:r>
              <a:rPr lang="en-US" altLang="zh-CN" sz="1000" dirty="0">
                <a:solidFill>
                  <a:srgbClr val="37373A"/>
                </a:solidFill>
              </a:rPr>
              <a:t>&amp;</a:t>
            </a:r>
            <a:r>
              <a:rPr lang="zh-CN" altLang="en-US" sz="1000" dirty="0">
                <a:solidFill>
                  <a:srgbClr val="37373A"/>
                </a:solidFill>
              </a:rPr>
              <a:t>是否需要引入新的数据</a:t>
            </a:r>
            <a:endParaRPr lang="en-US" altLang="zh-CN" sz="1000" dirty="0">
              <a:solidFill>
                <a:srgbClr val="37373A"/>
              </a:solidFill>
            </a:endParaRPr>
          </a:p>
          <a:p>
            <a:endParaRPr lang="en-US" altLang="zh-CN" sz="1000" dirty="0">
              <a:solidFill>
                <a:srgbClr val="37373A"/>
              </a:solidFill>
            </a:endParaRPr>
          </a:p>
          <a:p>
            <a:r>
              <a:rPr lang="en-US" altLang="zh-CN" sz="1050" b="1" dirty="0">
                <a:solidFill>
                  <a:srgbClr val="C00000"/>
                </a:solidFill>
              </a:rPr>
              <a:t>Data</a:t>
            </a:r>
            <a:r>
              <a:rPr lang="zh-CN" altLang="en-US" sz="1050" b="1" dirty="0">
                <a:solidFill>
                  <a:srgbClr val="C00000"/>
                </a:solidFill>
              </a:rPr>
              <a:t> </a:t>
            </a:r>
            <a:r>
              <a:rPr lang="en-US" altLang="zh-CN" sz="1050" b="1" dirty="0">
                <a:solidFill>
                  <a:srgbClr val="C00000"/>
                </a:solidFill>
              </a:rPr>
              <a:t>Module list</a:t>
            </a:r>
          </a:p>
          <a:p>
            <a:r>
              <a:rPr lang="en-US" altLang="zh-CN" sz="1050" b="1" dirty="0">
                <a:solidFill>
                  <a:schemeClr val="tx1"/>
                </a:solidFill>
              </a:rPr>
              <a:t>(</a:t>
            </a:r>
            <a:r>
              <a:rPr lang="zh-CN" altLang="en-US" sz="1050" b="1" dirty="0">
                <a:solidFill>
                  <a:schemeClr val="tx1"/>
                </a:solidFill>
              </a:rPr>
              <a:t>总图，配合</a:t>
            </a:r>
            <a:r>
              <a:rPr lang="en-US" altLang="zh-CN" sz="1050" b="1" dirty="0">
                <a:solidFill>
                  <a:schemeClr val="tx1"/>
                </a:solidFill>
              </a:rPr>
              <a:t>Vince</a:t>
            </a:r>
            <a:r>
              <a:rPr lang="zh-CN" altLang="en-US" sz="1050" b="1" dirty="0">
                <a:solidFill>
                  <a:schemeClr val="tx1"/>
                </a:solidFill>
              </a:rPr>
              <a:t>划分的</a:t>
            </a:r>
            <a:r>
              <a:rPr lang="en-US" altLang="zh-CN" sz="1050" b="1" dirty="0">
                <a:solidFill>
                  <a:schemeClr val="tx1"/>
                </a:solidFill>
              </a:rPr>
              <a:t>core/basic/advance</a:t>
            </a:r>
            <a:r>
              <a:rPr lang="zh-CN" altLang="en-US" sz="1050" b="1" dirty="0">
                <a:solidFill>
                  <a:schemeClr val="tx1"/>
                </a:solidFill>
              </a:rPr>
              <a:t>，有一个系统来源对比。还有基于最终对比情况在这几个</a:t>
            </a:r>
            <a:r>
              <a:rPr lang="en-US" altLang="zh-CN" sz="1050" b="1" dirty="0">
                <a:solidFill>
                  <a:schemeClr val="tx1"/>
                </a:solidFill>
              </a:rPr>
              <a:t>module</a:t>
            </a:r>
            <a:r>
              <a:rPr lang="zh-CN" altLang="en-US" sz="1050" b="1" dirty="0">
                <a:solidFill>
                  <a:schemeClr val="tx1"/>
                </a:solidFill>
              </a:rPr>
              <a:t>下打星，</a:t>
            </a:r>
            <a:r>
              <a:rPr lang="en-US" altLang="zh-CN" sz="1050" b="1" dirty="0">
                <a:solidFill>
                  <a:schemeClr val="tx1"/>
                </a:solidFill>
              </a:rPr>
              <a:t>5*</a:t>
            </a:r>
            <a:r>
              <a:rPr lang="zh-CN" altLang="en-US" sz="1050" b="1" dirty="0">
                <a:solidFill>
                  <a:schemeClr val="tx1"/>
                </a:solidFill>
              </a:rPr>
              <a:t>数据非常</a:t>
            </a:r>
            <a:r>
              <a:rPr lang="en-US" altLang="zh-CN" sz="1050" b="1" dirty="0">
                <a:solidFill>
                  <a:schemeClr val="tx1"/>
                </a:solidFill>
              </a:rPr>
              <a:t>ready</a:t>
            </a:r>
            <a:r>
              <a:rPr lang="zh-CN" altLang="en-US" sz="1050" b="1" dirty="0">
                <a:solidFill>
                  <a:schemeClr val="tx1"/>
                </a:solidFill>
              </a:rPr>
              <a:t>，没有重要字段遗漏；</a:t>
            </a:r>
            <a:r>
              <a:rPr lang="en-US" altLang="zh-CN" sz="1050" b="1" dirty="0">
                <a:solidFill>
                  <a:schemeClr val="tx1"/>
                </a:solidFill>
              </a:rPr>
              <a:t>4*</a:t>
            </a:r>
            <a:r>
              <a:rPr lang="zh-CN" altLang="en-US" sz="1050" b="1" dirty="0">
                <a:solidFill>
                  <a:schemeClr val="tx1"/>
                </a:solidFill>
              </a:rPr>
              <a:t>部分关键数据缺失，接入新系统可以解决；</a:t>
            </a:r>
            <a:r>
              <a:rPr lang="en-US" altLang="zh-CN" sz="1050" b="1" dirty="0">
                <a:solidFill>
                  <a:schemeClr val="tx1"/>
                </a:solidFill>
              </a:rPr>
              <a:t>3*</a:t>
            </a:r>
            <a:r>
              <a:rPr lang="zh-CN" altLang="en-US" sz="1050" b="1" dirty="0">
                <a:solidFill>
                  <a:schemeClr val="tx1"/>
                </a:solidFill>
              </a:rPr>
              <a:t>部分关键数据缺失，业务定期额外维护（手工</a:t>
            </a:r>
            <a:r>
              <a:rPr lang="en-US" altLang="zh-CN" sz="1050" b="1" dirty="0">
                <a:solidFill>
                  <a:schemeClr val="tx1"/>
                </a:solidFill>
              </a:rPr>
              <a:t>/</a:t>
            </a:r>
            <a:r>
              <a:rPr lang="zh-CN" altLang="en-US" sz="1050" b="1" dirty="0">
                <a:solidFill>
                  <a:schemeClr val="tx1"/>
                </a:solidFill>
              </a:rPr>
              <a:t>系统）可以解决；</a:t>
            </a:r>
            <a:r>
              <a:rPr lang="en-US" altLang="zh-CN" sz="1050" b="1" dirty="0">
                <a:solidFill>
                  <a:schemeClr val="tx1"/>
                </a:solidFill>
              </a:rPr>
              <a:t>2*</a:t>
            </a:r>
            <a:r>
              <a:rPr lang="zh-CN" altLang="en-US" sz="1050" b="1" dirty="0">
                <a:solidFill>
                  <a:schemeClr val="tx1"/>
                </a:solidFill>
              </a:rPr>
              <a:t>大量关键数据缺失，可能影响预测准确性；</a:t>
            </a:r>
            <a:r>
              <a:rPr lang="en-US" altLang="zh-CN" sz="1050" b="1" dirty="0">
                <a:solidFill>
                  <a:schemeClr val="tx1"/>
                </a:solidFill>
              </a:rPr>
              <a:t>1*</a:t>
            </a:r>
            <a:r>
              <a:rPr lang="zh-CN" altLang="en-US" sz="1050" b="1" dirty="0">
                <a:solidFill>
                  <a:schemeClr val="tx1"/>
                </a:solidFill>
              </a:rPr>
              <a:t>完全缺失，建议不实施该模块预测</a:t>
            </a:r>
            <a:r>
              <a:rPr lang="en-US" altLang="zh-CN" sz="1050" b="1" dirty="0">
                <a:solidFill>
                  <a:schemeClr val="tx1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Sales (***)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Master Data</a:t>
            </a:r>
            <a:r>
              <a:rPr lang="zh-CN" altLang="en-US" sz="1000" dirty="0">
                <a:solidFill>
                  <a:srgbClr val="37373A"/>
                </a:solidFill>
              </a:rPr>
              <a:t>（</a:t>
            </a:r>
            <a:r>
              <a:rPr lang="en-US" altLang="zh-CN" sz="1000" dirty="0">
                <a:solidFill>
                  <a:srgbClr val="37373A"/>
                </a:solidFill>
              </a:rPr>
              <a:t>XXX</a:t>
            </a:r>
            <a:r>
              <a:rPr lang="zh-CN" altLang="en-US" sz="1000" dirty="0">
                <a:solidFill>
                  <a:srgbClr val="37373A"/>
                </a:solidFill>
              </a:rPr>
              <a:t>）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Campaign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Market Research</a:t>
            </a:r>
          </a:p>
          <a:p>
            <a:pPr marL="228600" indent="-228600">
              <a:buAutoNum type="arabicPeriod"/>
            </a:pPr>
            <a:r>
              <a:rPr lang="en-US" altLang="zh-CN" sz="1000" dirty="0">
                <a:solidFill>
                  <a:srgbClr val="37373A"/>
                </a:solidFill>
              </a:rPr>
              <a:t>Call</a:t>
            </a:r>
          </a:p>
          <a:p>
            <a:endParaRPr lang="en-US" altLang="zh-CN" sz="1000" dirty="0">
              <a:solidFill>
                <a:srgbClr val="37373A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</a:t>
            </a:r>
            <a:r>
              <a:rPr lang="en-US" altLang="zh-CN" sz="1050" b="1" dirty="0" err="1">
                <a:solidFill>
                  <a:srgbClr val="C00000"/>
                </a:solidFill>
                <a:latin typeface="Arial"/>
              </a:rPr>
              <a:t>etailed</a:t>
            </a:r>
            <a:r>
              <a:rPr lang="zh-CN" altLang="en-US" sz="1050" b="1" dirty="0">
                <a:solidFill>
                  <a:srgbClr val="C00000"/>
                </a:solidFill>
                <a:latin typeface="Arial"/>
              </a:rPr>
              <a:t> </a:t>
            </a:r>
            <a:r>
              <a:rPr lang="en-US" altLang="zh-CN" sz="1050" b="1" dirty="0">
                <a:solidFill>
                  <a:srgbClr val="C00000"/>
                </a:solidFill>
                <a:latin typeface="Arial"/>
              </a:rPr>
              <a:t>Comparison on 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on Data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u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(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分图，每个</a:t>
            </a: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module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可能需要多页片子：现状</a:t>
            </a: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+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痛点</a:t>
            </a:r>
            <a:r>
              <a:rPr lang="en-US" altLang="zh-CN" sz="1050" dirty="0">
                <a:solidFill>
                  <a:schemeClr val="tx1"/>
                </a:solidFill>
                <a:latin typeface="Arial"/>
              </a:rPr>
              <a:t>+</a:t>
            </a:r>
            <a:r>
              <a:rPr lang="zh-CN" altLang="en-US" sz="1050" dirty="0">
                <a:solidFill>
                  <a:schemeClr val="tx1"/>
                </a:solidFill>
                <a:latin typeface="Arial"/>
              </a:rPr>
              <a:t>解决方案。</a:t>
            </a:r>
            <a:endParaRPr lang="en-US" altLang="zh-CN" sz="1050" dirty="0">
              <a:solidFill>
                <a:schemeClr val="tx1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000" dirty="0">
              <a:solidFill>
                <a:srgbClr val="37373A"/>
              </a:solidFill>
            </a:endParaRPr>
          </a:p>
          <a:p>
            <a:r>
              <a:rPr lang="en-US" altLang="zh-CN" sz="1050" b="1" dirty="0">
                <a:solidFill>
                  <a:srgbClr val="C00000"/>
                </a:solidFill>
              </a:rPr>
              <a:t>China</a:t>
            </a:r>
            <a:r>
              <a:rPr lang="zh-CN" altLang="en-US" sz="1050" b="1" dirty="0">
                <a:solidFill>
                  <a:srgbClr val="C00000"/>
                </a:solidFill>
              </a:rPr>
              <a:t> </a:t>
            </a:r>
            <a:r>
              <a:rPr lang="en-US" altLang="zh-CN" sz="1050" b="1" dirty="0">
                <a:solidFill>
                  <a:srgbClr val="C00000"/>
                </a:solidFill>
              </a:rPr>
              <a:t>Enhancement</a:t>
            </a:r>
          </a:p>
          <a:p>
            <a:r>
              <a:rPr lang="en-US" altLang="zh-CN" sz="1050" b="1" dirty="0">
                <a:solidFill>
                  <a:schemeClr val="tx1"/>
                </a:solidFill>
              </a:rPr>
              <a:t>(</a:t>
            </a:r>
            <a:r>
              <a:rPr lang="zh-CN" altLang="en-US" sz="1050" b="1" dirty="0">
                <a:solidFill>
                  <a:schemeClr val="tx1"/>
                </a:solidFill>
              </a:rPr>
              <a:t>基于中国业务模式和数据情况建议</a:t>
            </a:r>
            <a:r>
              <a:rPr lang="en-US" altLang="zh-CN" sz="1050" b="1" dirty="0">
                <a:solidFill>
                  <a:schemeClr val="tx1"/>
                </a:solidFill>
              </a:rPr>
              <a:t>NGSE</a:t>
            </a:r>
            <a:r>
              <a:rPr lang="zh-CN" altLang="en-US" sz="1050" b="1" dirty="0">
                <a:solidFill>
                  <a:schemeClr val="tx1"/>
                </a:solidFill>
              </a:rPr>
              <a:t>引擎给中国定制化开发的部分</a:t>
            </a:r>
            <a:r>
              <a:rPr lang="en-US" altLang="zh-CN" sz="1050" b="1" dirty="0">
                <a:solidFill>
                  <a:schemeClr val="tx1"/>
                </a:solidFill>
              </a:rPr>
              <a:t>)</a:t>
            </a:r>
          </a:p>
          <a:p>
            <a:pPr marL="228600" indent="-228600">
              <a:buAutoNum type="arabicPeriod"/>
            </a:pPr>
            <a:r>
              <a:rPr lang="zh-CN" altLang="en-US" sz="1000" b="1" dirty="0">
                <a:solidFill>
                  <a:srgbClr val="00B050"/>
                </a:solidFill>
              </a:rPr>
              <a:t>新增</a:t>
            </a:r>
            <a:r>
              <a:rPr lang="en-US" altLang="zh-CN" sz="1000" b="1" dirty="0">
                <a:solidFill>
                  <a:srgbClr val="00B050"/>
                </a:solidFill>
              </a:rPr>
              <a:t>Flag</a:t>
            </a:r>
            <a:r>
              <a:rPr lang="zh-CN" altLang="en-US" sz="1000" b="1" dirty="0">
                <a:solidFill>
                  <a:srgbClr val="00B050"/>
                </a:solidFill>
              </a:rPr>
              <a:t>和使用场景 </a:t>
            </a:r>
            <a:r>
              <a:rPr lang="en-US" altLang="zh-CN" sz="1000" dirty="0">
                <a:solidFill>
                  <a:srgbClr val="37373A"/>
                </a:solidFill>
              </a:rPr>
              <a:t>- </a:t>
            </a:r>
            <a:r>
              <a:rPr lang="zh-CN" altLang="en-US" sz="1000" dirty="0">
                <a:solidFill>
                  <a:srgbClr val="37373A"/>
                </a:solidFill>
              </a:rPr>
              <a:t>除了</a:t>
            </a:r>
            <a:r>
              <a:rPr lang="en-US" altLang="zh-CN" sz="1000" dirty="0">
                <a:solidFill>
                  <a:srgbClr val="37373A"/>
                </a:solidFill>
              </a:rPr>
              <a:t>6</a:t>
            </a:r>
            <a:r>
              <a:rPr lang="zh-CN" altLang="en-US" sz="1000" dirty="0">
                <a:solidFill>
                  <a:srgbClr val="37373A"/>
                </a:solidFill>
              </a:rPr>
              <a:t>个现有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之外建议增加的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，中国建议和可以提供的</a:t>
            </a:r>
            <a:r>
              <a:rPr lang="en-US" altLang="zh-CN" sz="1000" dirty="0">
                <a:solidFill>
                  <a:srgbClr val="37373A"/>
                </a:solidFill>
              </a:rPr>
              <a:t>features</a:t>
            </a:r>
            <a:r>
              <a:rPr lang="zh-CN" altLang="en-US" sz="1000" dirty="0">
                <a:solidFill>
                  <a:srgbClr val="37373A"/>
                </a:solidFill>
              </a:rPr>
              <a:t>有哪些，中国会合并好</a:t>
            </a:r>
            <a:r>
              <a:rPr lang="en-US" altLang="zh-CN" sz="1000" dirty="0">
                <a:solidFill>
                  <a:srgbClr val="37373A"/>
                </a:solidFill>
              </a:rPr>
              <a:t>feed</a:t>
            </a:r>
            <a:r>
              <a:rPr lang="zh-CN" altLang="en-US" sz="1000" dirty="0">
                <a:solidFill>
                  <a:srgbClr val="37373A"/>
                </a:solidFill>
              </a:rPr>
              <a:t>给</a:t>
            </a:r>
            <a:r>
              <a:rPr lang="en-US" altLang="zh-CN" sz="1000" dirty="0">
                <a:solidFill>
                  <a:srgbClr val="37373A"/>
                </a:solidFill>
              </a:rPr>
              <a:t>NGSE</a:t>
            </a:r>
            <a:r>
              <a:rPr lang="zh-CN" altLang="en-US" sz="1000" dirty="0">
                <a:solidFill>
                  <a:srgbClr val="37373A"/>
                </a:solidFill>
              </a:rPr>
              <a:t>的表有哪些，预计可以使用的</a:t>
            </a:r>
            <a:r>
              <a:rPr lang="en-US" altLang="zh-CN" sz="1000" dirty="0">
                <a:solidFill>
                  <a:srgbClr val="37373A"/>
                </a:solidFill>
              </a:rPr>
              <a:t>AI model</a:t>
            </a:r>
            <a:r>
              <a:rPr lang="zh-CN" altLang="en-US" sz="1000" dirty="0">
                <a:solidFill>
                  <a:srgbClr val="37373A"/>
                </a:solidFill>
              </a:rPr>
              <a:t>是哪种</a:t>
            </a:r>
            <a:endParaRPr lang="en-US" altLang="zh-CN" sz="1000" dirty="0">
              <a:solidFill>
                <a:srgbClr val="37373A"/>
              </a:solidFill>
            </a:endParaRPr>
          </a:p>
          <a:p>
            <a:pPr marL="228600" indent="-228600">
              <a:buAutoNum type="arabicPeriod"/>
            </a:pPr>
            <a:r>
              <a:rPr lang="zh-CN" altLang="en-US" sz="1000" b="1" dirty="0">
                <a:solidFill>
                  <a:srgbClr val="00B050"/>
                </a:solidFill>
              </a:rPr>
              <a:t>已有</a:t>
            </a:r>
            <a:r>
              <a:rPr lang="en-US" altLang="zh-CN" sz="1000" b="1" dirty="0">
                <a:solidFill>
                  <a:srgbClr val="00B050"/>
                </a:solidFill>
              </a:rPr>
              <a:t>Flag</a:t>
            </a:r>
            <a:r>
              <a:rPr lang="zh-CN" altLang="en-US" sz="1000" b="1" dirty="0">
                <a:solidFill>
                  <a:srgbClr val="00B050"/>
                </a:solidFill>
              </a:rPr>
              <a:t>的</a:t>
            </a:r>
            <a:r>
              <a:rPr lang="en-US" altLang="zh-CN" sz="1000" b="1" dirty="0">
                <a:solidFill>
                  <a:srgbClr val="00B050"/>
                </a:solidFill>
              </a:rPr>
              <a:t>feature</a:t>
            </a:r>
            <a:r>
              <a:rPr lang="zh-CN" altLang="en-US" sz="1000" b="1" dirty="0">
                <a:solidFill>
                  <a:srgbClr val="00B050"/>
                </a:solidFill>
              </a:rPr>
              <a:t>增强 </a:t>
            </a:r>
            <a:r>
              <a:rPr lang="en-US" altLang="zh-CN" sz="1000" dirty="0">
                <a:solidFill>
                  <a:srgbClr val="37373A"/>
                </a:solidFill>
              </a:rPr>
              <a:t>– </a:t>
            </a:r>
            <a:r>
              <a:rPr lang="zh-CN" altLang="en-US" sz="1000" dirty="0">
                <a:solidFill>
                  <a:srgbClr val="37373A"/>
                </a:solidFill>
              </a:rPr>
              <a:t>中国建议在现有</a:t>
            </a:r>
            <a:r>
              <a:rPr lang="en-US" altLang="zh-CN" sz="1000" dirty="0">
                <a:solidFill>
                  <a:srgbClr val="37373A"/>
                </a:solidFill>
              </a:rPr>
              <a:t>Flag</a:t>
            </a:r>
            <a:r>
              <a:rPr lang="zh-CN" altLang="en-US" sz="1000" dirty="0">
                <a:solidFill>
                  <a:srgbClr val="37373A"/>
                </a:solidFill>
              </a:rPr>
              <a:t>中增加的</a:t>
            </a:r>
            <a:r>
              <a:rPr lang="en-US" altLang="zh-CN" sz="1000" dirty="0">
                <a:solidFill>
                  <a:srgbClr val="37373A"/>
                </a:solidFill>
              </a:rPr>
              <a:t>Feature</a:t>
            </a:r>
            <a:r>
              <a:rPr lang="zh-CN" altLang="en-US" sz="1000" dirty="0">
                <a:solidFill>
                  <a:srgbClr val="37373A"/>
                </a:solidFill>
              </a:rPr>
              <a:t>，建议增加的理由是啥，这部分</a:t>
            </a:r>
            <a:r>
              <a:rPr lang="en-US" altLang="zh-CN" sz="1000" dirty="0">
                <a:solidFill>
                  <a:srgbClr val="37373A"/>
                </a:solidFill>
              </a:rPr>
              <a:t>feature</a:t>
            </a:r>
            <a:r>
              <a:rPr lang="zh-CN" altLang="en-US" sz="1000" dirty="0">
                <a:solidFill>
                  <a:srgbClr val="37373A"/>
                </a:solidFill>
              </a:rPr>
              <a:t>的数据来源是啥</a:t>
            </a:r>
            <a:endParaRPr lang="en-US" altLang="zh-CN" sz="1000" dirty="0">
              <a:solidFill>
                <a:srgbClr val="37373A"/>
              </a:solidFill>
            </a:endParaRPr>
          </a:p>
          <a:p>
            <a:endParaRPr lang="en-US" altLang="zh-CN" sz="1000" dirty="0">
              <a:solidFill>
                <a:srgbClr val="3737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03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2FD8F738-7202-4B43-F9D4-57929DD0F27B}"/>
              </a:ext>
            </a:extLst>
          </p:cNvPr>
          <p:cNvSpPr/>
          <p:nvPr/>
        </p:nvSpPr>
        <p:spPr>
          <a:xfrm>
            <a:off x="7759817" y="4345496"/>
            <a:ext cx="3291244" cy="15095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第一页画数据流，画单独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customer master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这一个，之前有一页数据流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ppt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的，放进来就好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85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2FD8F738-7202-4B43-F9D4-57929DD0F27B}"/>
              </a:ext>
            </a:extLst>
          </p:cNvPr>
          <p:cNvSpPr/>
          <p:nvPr/>
        </p:nvSpPr>
        <p:spPr>
          <a:xfrm>
            <a:off x="6686026" y="2674207"/>
            <a:ext cx="5100506" cy="15095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评估结果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，从字段和数据记录两方面</a:t>
            </a:r>
            <a:endParaRPr lang="en-US" altLang="zh-CN" sz="1400" b="1" dirty="0">
              <a:solidFill>
                <a:srgbClr val="FFFFFF"/>
              </a:solidFill>
              <a:latin typeface="等线" panose="020F0502020204030204"/>
              <a:ea typeface="等线" panose="02010600030101010101" pitchFamily="2" charset="-12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字段：总共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XX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字段，</a:t>
            </a:r>
            <a:r>
              <a:rPr lang="en-US" altLang="zh-CN" sz="1400" b="1" dirty="0" err="1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NGSEmusthave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 XX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个字段，分别我们提供了哪些字段</a:t>
            </a:r>
            <a:endParaRPr lang="en-US" altLang="zh-CN" sz="1400" b="1" dirty="0">
              <a:solidFill>
                <a:srgbClr val="FFFFFF"/>
              </a:solidFill>
              <a:latin typeface="等线" panose="020F0502020204030204"/>
              <a:ea typeface="等线" panose="02010600030101010101" pitchFamily="2" charset="-12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数据记录：条目数（</a:t>
            </a:r>
            <a:r>
              <a:rPr lang="en-US" altLang="zh-CN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TP+RDM+MDE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三部分</a:t>
            </a:r>
            <a:r>
              <a:rPr lang="en-US" altLang="zh-CN" sz="1400" b="1" dirty="0" err="1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balab</a:t>
            </a:r>
            <a:r>
              <a:rPr lang="zh-CN" altLang="en-US" sz="1400" b="1" dirty="0">
                <a:solidFill>
                  <a:srgbClr val="FFFFFF"/>
                </a:solidFill>
                <a:latin typeface="等线" panose="020F0502020204030204"/>
                <a:ea typeface="等线" panose="02010600030101010101" pitchFamily="2" charset="-122"/>
              </a:rPr>
              <a:t>）</a:t>
            </a:r>
            <a:endParaRPr lang="en-US" altLang="zh-CN" sz="1400" b="1" dirty="0">
              <a:solidFill>
                <a:srgbClr val="FFFFFF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12304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378EB02-C7E1-6F62-7C84-6A082766978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rpt_Species_Alloc_Aligned_Sls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Summarize 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666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A7D4D-65FB-6EAA-CACE-58AD1CDA4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5593FF-7EF5-6FAE-7571-3E75379614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97D7A50-CF8B-5F8C-66EF-8C4C42D47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139" y="1919287"/>
            <a:ext cx="11068050" cy="3019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8797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72AAB62-D183-3DCB-554C-690EB351F203}"/>
              </a:ext>
            </a:extLst>
          </p:cNvPr>
          <p:cNvSpPr/>
          <p:nvPr/>
        </p:nvSpPr>
        <p:spPr>
          <a:xfrm>
            <a:off x="571500" y="4029283"/>
            <a:ext cx="3962400" cy="2066925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6ABD79C-BB1A-81CE-2DDB-352375FC7900}"/>
              </a:ext>
            </a:extLst>
          </p:cNvPr>
          <p:cNvSpPr/>
          <p:nvPr/>
        </p:nvSpPr>
        <p:spPr>
          <a:xfrm>
            <a:off x="800100" y="1075687"/>
            <a:ext cx="8572500" cy="2547156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A1983A-831A-4536-FEED-338832A93684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rpt_Species_Alloc_Aligned_Sls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4734DB-A6B9-8B81-7E17-E46F18FEDF0C}"/>
              </a:ext>
            </a:extLst>
          </p:cNvPr>
          <p:cNvSpPr/>
          <p:nvPr/>
        </p:nvSpPr>
        <p:spPr>
          <a:xfrm>
            <a:off x="996157" y="1594576"/>
            <a:ext cx="4457700" cy="331787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 sales monthly flow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F36342-4CCC-FF14-B629-DDAA7AFDA718}"/>
              </a:ext>
            </a:extLst>
          </p:cNvPr>
          <p:cNvSpPr/>
          <p:nvPr/>
        </p:nvSpPr>
        <p:spPr>
          <a:xfrm>
            <a:off x="990600" y="2103606"/>
            <a:ext cx="2895600" cy="331788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 account SAP cod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808AC52-BA66-D483-423E-584BB9DFE836}"/>
              </a:ext>
            </a:extLst>
          </p:cNvPr>
          <p:cNvSpPr/>
          <p:nvPr/>
        </p:nvSpPr>
        <p:spPr>
          <a:xfrm>
            <a:off x="990600" y="2612637"/>
            <a:ext cx="2895600" cy="331787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 product </a:t>
            </a:r>
            <a:r>
              <a:rPr lang="en-US" dirty="0" err="1"/>
              <a:t>sku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1EF889-82B6-A682-7292-1AEECC311495}"/>
              </a:ext>
            </a:extLst>
          </p:cNvPr>
          <p:cNvSpPr/>
          <p:nvPr/>
        </p:nvSpPr>
        <p:spPr>
          <a:xfrm>
            <a:off x="990600" y="3082537"/>
            <a:ext cx="3124200" cy="268327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DE product </a:t>
            </a:r>
            <a:r>
              <a:rPr lang="en-US" dirty="0" err="1"/>
              <a:t>s</a:t>
            </a:r>
            <a:r>
              <a:rPr lang="en-US" altLang="zh-CN" dirty="0" err="1"/>
              <a:t>ku</a:t>
            </a:r>
            <a:r>
              <a:rPr lang="en-US" altLang="zh-CN" dirty="0"/>
              <a:t> SAP cod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504EAF-9637-F8CD-6E95-507A5658CEA2}"/>
              </a:ext>
            </a:extLst>
          </p:cNvPr>
          <p:cNvSpPr/>
          <p:nvPr/>
        </p:nvSpPr>
        <p:spPr>
          <a:xfrm>
            <a:off x="800100" y="4654187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  </a:t>
            </a:r>
            <a:r>
              <a:rPr lang="en-US" dirty="0" err="1"/>
              <a:t>position_account</a:t>
            </a:r>
            <a:r>
              <a:rPr lang="en-US" dirty="0"/>
              <a:t> </a:t>
            </a:r>
            <a:r>
              <a:rPr lang="en-US" altLang="zh-CN" dirty="0"/>
              <a:t>Info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8C6B45-3C90-C033-679F-FA4703E6BEF4}"/>
              </a:ext>
            </a:extLst>
          </p:cNvPr>
          <p:cNvSpPr/>
          <p:nvPr/>
        </p:nvSpPr>
        <p:spPr>
          <a:xfrm>
            <a:off x="800100" y="5097530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</a:t>
            </a:r>
            <a:r>
              <a:rPr lang="en-US" altLang="zh-CN" dirty="0"/>
              <a:t>P </a:t>
            </a:r>
            <a:r>
              <a:rPr lang="en-US" dirty="0"/>
              <a:t>position </a:t>
            </a:r>
            <a:r>
              <a:rPr lang="en-US" altLang="zh-CN" dirty="0"/>
              <a:t>Info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94C246D-AB4A-4EEF-E5D3-9D786ED1F0C4}"/>
              </a:ext>
            </a:extLst>
          </p:cNvPr>
          <p:cNvSpPr/>
          <p:nvPr/>
        </p:nvSpPr>
        <p:spPr>
          <a:xfrm>
            <a:off x="5787232" y="1592012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 distributo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0FB860-B8DE-A64E-E830-B62EFD3D763A}"/>
              </a:ext>
            </a:extLst>
          </p:cNvPr>
          <p:cNvSpPr/>
          <p:nvPr/>
        </p:nvSpPr>
        <p:spPr>
          <a:xfrm>
            <a:off x="5787232" y="2076608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 custom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A043AD-AF8B-9A90-BBCA-B3A1C9BAD392}"/>
              </a:ext>
            </a:extLst>
          </p:cNvPr>
          <p:cNvSpPr/>
          <p:nvPr/>
        </p:nvSpPr>
        <p:spPr>
          <a:xfrm>
            <a:off x="5787232" y="2561204"/>
            <a:ext cx="2895600" cy="331788"/>
          </a:xfrm>
          <a:prstGeom prst="rect">
            <a:avLst/>
          </a:prstGeom>
          <a:solidFill>
            <a:schemeClr val="accent1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DP produc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C297DA-B046-3BDF-6A10-A3E598F3BAF0}"/>
              </a:ext>
            </a:extLst>
          </p:cNvPr>
          <p:cNvSpPr/>
          <p:nvPr/>
        </p:nvSpPr>
        <p:spPr>
          <a:xfrm>
            <a:off x="800100" y="5532557"/>
            <a:ext cx="2895600" cy="331788"/>
          </a:xfrm>
          <a:prstGeom prst="rect">
            <a:avLst/>
          </a:prstGeom>
          <a:solidFill>
            <a:schemeClr val="accent6"/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uchpoint position </a:t>
            </a:r>
            <a:r>
              <a:rPr lang="en-US" altLang="zh-CN" dirty="0"/>
              <a:t>Info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991BBE-0A21-DD8B-BADE-DFD3EE9EF594}"/>
              </a:ext>
            </a:extLst>
          </p:cNvPr>
          <p:cNvSpPr/>
          <p:nvPr/>
        </p:nvSpPr>
        <p:spPr>
          <a:xfrm>
            <a:off x="646112" y="1194665"/>
            <a:ext cx="2476500" cy="32504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ales Dat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7C52153-D4DE-0F50-E3CB-5D5B72381DAE}"/>
              </a:ext>
            </a:extLst>
          </p:cNvPr>
          <p:cNvSpPr/>
          <p:nvPr/>
        </p:nvSpPr>
        <p:spPr>
          <a:xfrm>
            <a:off x="666749" y="4214181"/>
            <a:ext cx="1581151" cy="32845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erritory Info</a:t>
            </a:r>
            <a:endParaRPr lang="en-US" dirty="0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C3905670-EDA1-504F-216A-5CEEC148F212}"/>
              </a:ext>
            </a:extLst>
          </p:cNvPr>
          <p:cNvSpPr/>
          <p:nvPr/>
        </p:nvSpPr>
        <p:spPr>
          <a:xfrm>
            <a:off x="4533899" y="4914900"/>
            <a:ext cx="2752725" cy="3485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8" name="Arrow: Down 27">
            <a:extLst>
              <a:ext uri="{FF2B5EF4-FFF2-40B4-BE49-F238E27FC236}">
                <a16:creationId xmlns:a16="http://schemas.microsoft.com/office/drawing/2014/main" id="{44CA98CE-B269-F4AB-8DD7-7347CB173C8B}"/>
              </a:ext>
            </a:extLst>
          </p:cNvPr>
          <p:cNvSpPr/>
          <p:nvPr/>
        </p:nvSpPr>
        <p:spPr>
          <a:xfrm>
            <a:off x="8153400" y="3670543"/>
            <a:ext cx="276225" cy="8720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8DD94C-E676-14E7-A36F-C3C553195E6E}"/>
              </a:ext>
            </a:extLst>
          </p:cNvPr>
          <p:cNvSpPr/>
          <p:nvPr/>
        </p:nvSpPr>
        <p:spPr>
          <a:xfrm>
            <a:off x="7286625" y="4542633"/>
            <a:ext cx="3590925" cy="104022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/>
                <a:ea typeface="等线 Light" panose="02010600030101010101" pitchFamily="2" charset="-122"/>
              </a:rPr>
              <a:t>rpt_Species_Alloc_Aligned_Sl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9552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pt_Species_Alloc_Aligned_Sls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FBD865-FE76-C988-48FA-712060A07C38}"/>
              </a:ext>
            </a:extLst>
          </p:cNvPr>
          <p:cNvSpPr txBox="1"/>
          <p:nvPr/>
        </p:nvSpPr>
        <p:spPr>
          <a:xfrm>
            <a:off x="1076325" y="1866899"/>
            <a:ext cx="45815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Total Required Attributes : </a:t>
            </a:r>
            <a:r>
              <a:rPr lang="en-US" dirty="0"/>
              <a:t>6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ust Have Attribute: 1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lexible Attributes: 47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Missing Attributes: 29 (Hardcod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Available Attributes: 18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415E41-0CBA-83BF-5A9F-952F30D035CD}"/>
              </a:ext>
            </a:extLst>
          </p:cNvPr>
          <p:cNvSpPr txBox="1"/>
          <p:nvPr/>
        </p:nvSpPr>
        <p:spPr>
          <a:xfrm>
            <a:off x="1076325" y="3621225"/>
            <a:ext cx="4124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apping Logic: 34 Attribut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4BC2F8-7F1B-2282-6A5B-C6373DD5CC97}"/>
              </a:ext>
            </a:extLst>
          </p:cNvPr>
          <p:cNvSpPr txBox="1"/>
          <p:nvPr/>
        </p:nvSpPr>
        <p:spPr>
          <a:xfrm>
            <a:off x="6000751" y="1866899"/>
            <a:ext cx="574198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y Product: </a:t>
            </a:r>
            <a:r>
              <a:rPr lang="en-US" altLang="zh-CN" dirty="0"/>
              <a:t>QTY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AM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By Customer</a:t>
            </a:r>
            <a:r>
              <a:rPr lang="zh-CN" altLang="en-US" dirty="0"/>
              <a:t> </a:t>
            </a:r>
            <a:r>
              <a:rPr lang="en-US" altLang="zh-CN" dirty="0"/>
              <a:t>:</a:t>
            </a:r>
            <a:r>
              <a:rPr lang="zh-CN" altLang="en-US" dirty="0"/>
              <a:t> </a:t>
            </a:r>
            <a:r>
              <a:rPr lang="en-US" altLang="zh-CN" dirty="0"/>
              <a:t>QTY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/>
              <a:t>AMT 100% </a:t>
            </a:r>
            <a:r>
              <a:rPr lang="en-US" altLang="zh-CN" dirty="0"/>
              <a:t>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By Date</a:t>
            </a:r>
            <a:r>
              <a:rPr lang="zh-CN" altLang="en-US" dirty="0"/>
              <a:t> </a:t>
            </a:r>
            <a:r>
              <a:rPr lang="en-US" altLang="zh-CN" dirty="0"/>
              <a:t>:</a:t>
            </a:r>
            <a:r>
              <a:rPr lang="zh-CN" altLang="en-US" dirty="0"/>
              <a:t> </a:t>
            </a:r>
            <a:r>
              <a:rPr lang="en-US" altLang="zh-CN" dirty="0"/>
              <a:t>QTY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AM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r>
              <a:rPr lang="en-US" dirty="0">
                <a:solidFill>
                  <a:srgbClr val="FF0000"/>
                </a:solidFill>
              </a:rPr>
              <a:t>For 2017 records of customer code not found.</a:t>
            </a:r>
          </a:p>
          <a:p>
            <a:r>
              <a:rPr lang="en-US" dirty="0">
                <a:solidFill>
                  <a:srgbClr val="FF0000"/>
                </a:solidFill>
              </a:rPr>
              <a:t>For 356554 record of </a:t>
            </a:r>
            <a:r>
              <a:rPr lang="en-US" dirty="0" err="1">
                <a:solidFill>
                  <a:srgbClr val="FF0000"/>
                </a:solidFill>
              </a:rPr>
              <a:t>e_product_sku_sap_mde.uf_sku_id</a:t>
            </a:r>
            <a:r>
              <a:rPr lang="en-US" dirty="0">
                <a:solidFill>
                  <a:srgbClr val="FF0000"/>
                </a:solidFill>
              </a:rPr>
              <a:t> not found</a:t>
            </a:r>
          </a:p>
          <a:p>
            <a:r>
              <a:rPr lang="en-US" dirty="0">
                <a:solidFill>
                  <a:srgbClr val="FF0000"/>
                </a:solidFill>
              </a:rPr>
              <a:t>For 1360687 records of </a:t>
            </a:r>
            <a:r>
              <a:rPr lang="en-US" dirty="0" err="1">
                <a:solidFill>
                  <a:srgbClr val="FF0000"/>
                </a:solidFill>
              </a:rPr>
              <a:t>e_account_sap_mde.account_id</a:t>
            </a:r>
            <a:r>
              <a:rPr lang="en-US" dirty="0">
                <a:solidFill>
                  <a:srgbClr val="FF0000"/>
                </a:solidFill>
              </a:rPr>
              <a:t> not found</a:t>
            </a:r>
          </a:p>
          <a:p>
            <a:endParaRPr lang="en-US" dirty="0">
              <a:solidFill>
                <a:srgbClr val="FF0000"/>
              </a:solidFill>
            </a:endParaRPr>
          </a:p>
          <a:p>
            <a:r>
              <a:rPr lang="en-US" dirty="0">
                <a:solidFill>
                  <a:srgbClr val="FF0000"/>
                </a:solidFill>
              </a:rPr>
              <a:t>For 120963 records of </a:t>
            </a:r>
            <a:r>
              <a:rPr lang="en-US" dirty="0" err="1">
                <a:solidFill>
                  <a:srgbClr val="FF0000"/>
                </a:solidFill>
              </a:rPr>
              <a:t>TerritoryID</a:t>
            </a:r>
            <a:r>
              <a:rPr lang="en-US" dirty="0">
                <a:solidFill>
                  <a:srgbClr val="FF0000"/>
                </a:solidFill>
              </a:rPr>
              <a:t> is null</a:t>
            </a:r>
          </a:p>
          <a:p>
            <a:endParaRPr lang="en-US" dirty="0"/>
          </a:p>
          <a:p>
            <a:r>
              <a:rPr lang="en-US" dirty="0"/>
              <a:t>The q</a:t>
            </a:r>
            <a:r>
              <a:rPr lang="en-US" i="0" dirty="0">
                <a:solidFill>
                  <a:srgbClr val="000000"/>
                </a:solidFill>
                <a:effectLst/>
                <a:latin typeface="-apple-system"/>
              </a:rPr>
              <a:t>ualified record count for 56%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744883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</a:t>
            </a:r>
          </a:p>
        </p:txBody>
      </p:sp>
    </p:spTree>
    <p:extLst>
      <p:ext uri="{BB962C8B-B14F-4D97-AF65-F5344CB8AC3E}">
        <p14:creationId xmlns:p14="http://schemas.microsoft.com/office/powerpoint/2010/main" val="237951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llout: Right Arrow 23">
            <a:extLst>
              <a:ext uri="{FF2B5EF4-FFF2-40B4-BE49-F238E27FC236}">
                <a16:creationId xmlns:a16="http://schemas.microsoft.com/office/drawing/2014/main" id="{5DB2A522-C4F1-4877-70D8-12DF1D63F695}"/>
              </a:ext>
            </a:extLst>
          </p:cNvPr>
          <p:cNvSpPr/>
          <p:nvPr/>
        </p:nvSpPr>
        <p:spPr>
          <a:xfrm>
            <a:off x="1552576" y="2266159"/>
            <a:ext cx="5734050" cy="2198690"/>
          </a:xfrm>
          <a:prstGeom prst="rightArrowCallou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A1983A-831A-4536-FEED-338832A93684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customer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5A3560-59FF-0BB3-CF3A-6474FFD886B4}"/>
              </a:ext>
            </a:extLst>
          </p:cNvPr>
          <p:cNvSpPr/>
          <p:nvPr/>
        </p:nvSpPr>
        <p:spPr>
          <a:xfrm>
            <a:off x="1790700" y="1617666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pt_species_alloc_aligned_sls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EF1676-FED9-B1B2-F390-3816F35D81EA}"/>
              </a:ext>
            </a:extLst>
          </p:cNvPr>
          <p:cNvSpPr/>
          <p:nvPr/>
        </p:nvSpPr>
        <p:spPr>
          <a:xfrm>
            <a:off x="1790699" y="2447134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RDM 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Menlo"/>
              </a:rPr>
              <a:t>C</a:t>
            </a:r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ustomer</a:t>
            </a:r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57FBCEC5-2804-BF53-A1B6-48560B4923C5}"/>
              </a:ext>
            </a:extLst>
          </p:cNvPr>
          <p:cNvSpPr/>
          <p:nvPr/>
        </p:nvSpPr>
        <p:spPr>
          <a:xfrm>
            <a:off x="3102768" y="1949453"/>
            <a:ext cx="395286" cy="4976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4F3CA75-9984-B9D5-A691-40D446E7B9BE}"/>
              </a:ext>
            </a:extLst>
          </p:cNvPr>
          <p:cNvSpPr/>
          <p:nvPr/>
        </p:nvSpPr>
        <p:spPr>
          <a:xfrm>
            <a:off x="1790698" y="3193655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Touchpoint 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Menlo"/>
              </a:rPr>
              <a:t>C</a:t>
            </a:r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ustom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8709AE8-0445-6EB1-F2E1-1D19954919E3}"/>
              </a:ext>
            </a:extLst>
          </p:cNvPr>
          <p:cNvSpPr/>
          <p:nvPr/>
        </p:nvSpPr>
        <p:spPr>
          <a:xfrm>
            <a:off x="1790698" y="3940177"/>
            <a:ext cx="301942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MDE 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Menlo"/>
              </a:rPr>
              <a:t>C</a:t>
            </a:r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ustomer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57A52CB-048B-7F8A-65AC-FB0ACF05B6EA}"/>
              </a:ext>
            </a:extLst>
          </p:cNvPr>
          <p:cNvSpPr/>
          <p:nvPr/>
        </p:nvSpPr>
        <p:spPr>
          <a:xfrm>
            <a:off x="7286626" y="3193654"/>
            <a:ext cx="3019425" cy="3317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customer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</p:spTree>
    <p:extLst>
      <p:ext uri="{BB962C8B-B14F-4D97-AF65-F5344CB8AC3E}">
        <p14:creationId xmlns:p14="http://schemas.microsoft.com/office/powerpoint/2010/main" val="211337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customer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FBD865-FE76-C988-48FA-712060A07C38}"/>
              </a:ext>
            </a:extLst>
          </p:cNvPr>
          <p:cNvSpPr txBox="1"/>
          <p:nvPr/>
        </p:nvSpPr>
        <p:spPr>
          <a:xfrm>
            <a:off x="1076325" y="1959232"/>
            <a:ext cx="43814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121</a:t>
            </a:r>
          </a:p>
          <a:p>
            <a:r>
              <a:rPr lang="en-US" dirty="0"/>
              <a:t>Must have Attributes: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D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27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9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customer Inf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2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9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ouchpoint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 attributes: 5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 69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400800" y="2043329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MDE: Count 100% Match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  <a:latin typeface="-apple-system"/>
              </a:rPr>
              <a:t>For </a:t>
            </a:r>
            <a:r>
              <a:rPr lang="en-US" b="0" i="0" dirty="0">
                <a:solidFill>
                  <a:srgbClr val="FF0000"/>
                </a:solidFill>
                <a:effectLst/>
                <a:latin typeface="-apple-system"/>
              </a:rPr>
              <a:t>572 records not align from MDE to touch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-apple-system"/>
              </a:rPr>
              <a:t>For </a:t>
            </a:r>
            <a:r>
              <a:rPr lang="en-US" b="0" i="0" dirty="0">
                <a:effectLst/>
                <a:latin typeface="-apple-system"/>
              </a:rPr>
              <a:t>39739 records customer data from RDM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7387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llout: Right Arrow 8">
            <a:extLst>
              <a:ext uri="{FF2B5EF4-FFF2-40B4-BE49-F238E27FC236}">
                <a16:creationId xmlns:a16="http://schemas.microsoft.com/office/drawing/2014/main" id="{507535C9-58D1-5BD0-B944-314AE9AB829B}"/>
              </a:ext>
            </a:extLst>
          </p:cNvPr>
          <p:cNvSpPr/>
          <p:nvPr/>
        </p:nvSpPr>
        <p:spPr>
          <a:xfrm>
            <a:off x="904875" y="1678779"/>
            <a:ext cx="6248400" cy="2381250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6375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A1983A-831A-4536-FEED-338832A93684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product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Trebuchet MS" panose="020B0603020202020204" pitchFamily="34" charset="0"/>
              </a:rPr>
              <a:t>Data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Flow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A62ECA6-7A3A-5991-ADA9-3713E950E074}"/>
              </a:ext>
            </a:extLst>
          </p:cNvPr>
          <p:cNvSpPr/>
          <p:nvPr/>
        </p:nvSpPr>
        <p:spPr>
          <a:xfrm>
            <a:off x="1419225" y="2000250"/>
            <a:ext cx="24003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DP produc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060125-FAD9-7C31-7615-322937BCBBDD}"/>
              </a:ext>
            </a:extLst>
          </p:cNvPr>
          <p:cNvSpPr/>
          <p:nvPr/>
        </p:nvSpPr>
        <p:spPr>
          <a:xfrm>
            <a:off x="1419225" y="2511427"/>
            <a:ext cx="24003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DE produc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C48016-6F03-57DC-2F77-BF094ABBC16A}"/>
              </a:ext>
            </a:extLst>
          </p:cNvPr>
          <p:cNvSpPr/>
          <p:nvPr/>
        </p:nvSpPr>
        <p:spPr>
          <a:xfrm>
            <a:off x="1419225" y="3013079"/>
            <a:ext cx="29337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DE product </a:t>
            </a:r>
            <a:r>
              <a:rPr lang="en-US" dirty="0" err="1"/>
              <a:t>sku</a:t>
            </a:r>
            <a:r>
              <a:rPr lang="en-US" dirty="0"/>
              <a:t> sap cod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4A2998-7C2E-28BE-84CC-C038165ADF4C}"/>
              </a:ext>
            </a:extLst>
          </p:cNvPr>
          <p:cNvSpPr/>
          <p:nvPr/>
        </p:nvSpPr>
        <p:spPr>
          <a:xfrm>
            <a:off x="7153275" y="2703511"/>
            <a:ext cx="2400300" cy="3317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product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9D06743-297D-1CE0-11A2-36F68555F28C}"/>
              </a:ext>
            </a:extLst>
          </p:cNvPr>
          <p:cNvSpPr/>
          <p:nvPr/>
        </p:nvSpPr>
        <p:spPr>
          <a:xfrm>
            <a:off x="1419225" y="3500443"/>
            <a:ext cx="2400300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 product</a:t>
            </a:r>
          </a:p>
        </p:txBody>
      </p:sp>
    </p:spTree>
    <p:extLst>
      <p:ext uri="{BB962C8B-B14F-4D97-AF65-F5344CB8AC3E}">
        <p14:creationId xmlns:p14="http://schemas.microsoft.com/office/powerpoint/2010/main" val="77539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product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FBD865-FE76-C988-48FA-712060A07C38}"/>
              </a:ext>
            </a:extLst>
          </p:cNvPr>
          <p:cNvSpPr txBox="1"/>
          <p:nvPr/>
        </p:nvSpPr>
        <p:spPr>
          <a:xfrm>
            <a:off x="1076325" y="1959232"/>
            <a:ext cx="43814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tal Required Attributes: 8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ust have Attributes: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lexible Attributes: 28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67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MDE: Count 75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</a:rPr>
              <a:t>For </a:t>
            </a:r>
            <a:r>
              <a:rPr lang="en-US" dirty="0">
                <a:solidFill>
                  <a:srgbClr val="FF0000"/>
                </a:solidFill>
              </a:rPr>
              <a:t>92 records not match because lack of sap info.</a:t>
            </a:r>
            <a:endParaRPr lang="en-US" altLang="zh-CN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12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218951B-41B4-404A-87E6-D2E127CEE2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1" imgH="363" progId="TCLayout.ActiveDocument.1">
                  <p:embed/>
                </p:oleObj>
              </mc:Choice>
              <mc:Fallback>
                <p:oleObj name="think-cell Slide" r:id="rId8" imgW="351" imgH="36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218951B-41B4-404A-87E6-D2E127CEE2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DB99922-B4EC-420F-AB53-954C35606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is Next Generation Sales Engine?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4E385F2-2BBA-42B8-8093-97D46709F3DE}"/>
              </a:ext>
            </a:extLst>
          </p:cNvPr>
          <p:cNvSpPr/>
          <p:nvPr/>
        </p:nvSpPr>
        <p:spPr>
          <a:xfrm>
            <a:off x="4593433" y="693246"/>
            <a:ext cx="7305381" cy="117952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Generation Sales Engin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is an enhanced capability to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ove customer experience and drive growth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E0863D-17EF-4E68-B6F9-DAAC86345FC1}"/>
              </a:ext>
            </a:extLst>
          </p:cNvPr>
          <p:cNvSpPr/>
          <p:nvPr/>
        </p:nvSpPr>
        <p:spPr>
          <a:xfrm>
            <a:off x="5387248" y="1765645"/>
            <a:ext cx="6511566" cy="82085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through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ed predictive analytic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optimize how we understand and mee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 needs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A1CD13-7CE8-4F80-AB98-747D9F50AE71}"/>
              </a:ext>
            </a:extLst>
          </p:cNvPr>
          <p:cNvSpPr/>
          <p:nvPr/>
        </p:nvSpPr>
        <p:spPr>
          <a:xfrm>
            <a:off x="5387248" y="2619066"/>
            <a:ext cx="6511566" cy="82085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with a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ly-enabled field force and inside sales team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sel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aborating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so with marketing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F5BA54-2BDF-40A0-A8CC-F8A6A27272C5}"/>
              </a:ext>
            </a:extLst>
          </p:cNvPr>
          <p:cNvSpPr/>
          <p:nvPr/>
        </p:nvSpPr>
        <p:spPr>
          <a:xfrm>
            <a:off x="4593433" y="4403220"/>
            <a:ext cx="7305382" cy="147398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national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abilities first built in the US are transferred and adapted based o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 market need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better support the sales and marketing team in reaching their target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3EBFF-099C-4725-A1BB-114126A58E60}"/>
              </a:ext>
            </a:extLst>
          </p:cNvPr>
          <p:cNvGrpSpPr>
            <a:grpSpLocks noChangeAspect="1"/>
          </p:cNvGrpSpPr>
          <p:nvPr/>
        </p:nvGrpSpPr>
        <p:grpSpPr>
          <a:xfrm>
            <a:off x="4660135" y="1920205"/>
            <a:ext cx="511259" cy="511733"/>
            <a:chOff x="5273801" y="2606040"/>
            <a:chExt cx="1644396" cy="1645920"/>
          </a:xfrm>
        </p:grpSpPr>
        <p:sp>
          <p:nvSpPr>
            <p:cNvPr id="21" name="AutoShape 33">
              <a:extLst>
                <a:ext uri="{FF2B5EF4-FFF2-40B4-BE49-F238E27FC236}">
                  <a16:creationId xmlns:a16="http://schemas.microsoft.com/office/drawing/2014/main" id="{0615E7F9-E6F0-43ED-8ADC-F2C3743424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68D4429-EA87-48AA-8CC1-F1A6B5217308}"/>
                </a:ext>
              </a:extLst>
            </p:cNvPr>
            <p:cNvGrpSpPr/>
            <p:nvPr/>
          </p:nvGrpSpPr>
          <p:grpSpPr>
            <a:xfrm>
              <a:off x="5445632" y="2775204"/>
              <a:ext cx="1301877" cy="1306068"/>
              <a:chOff x="5445632" y="2775204"/>
              <a:chExt cx="1301877" cy="1306068"/>
            </a:xfrm>
          </p:grpSpPr>
          <p:sp>
            <p:nvSpPr>
              <p:cNvPr id="23" name="Freeform 35">
                <a:extLst>
                  <a:ext uri="{FF2B5EF4-FFF2-40B4-BE49-F238E27FC236}">
                    <a16:creationId xmlns:a16="http://schemas.microsoft.com/office/drawing/2014/main" id="{E49E03B2-6338-4ACA-B997-A6F874E342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632" y="2775204"/>
                <a:ext cx="1301877" cy="1306068"/>
              </a:xfrm>
              <a:custGeom>
                <a:avLst/>
                <a:gdLst>
                  <a:gd name="T0" fmla="*/ 236 w 1824"/>
                  <a:gd name="T1" fmla="*/ 118 h 1828"/>
                  <a:gd name="T2" fmla="*/ 118 w 1824"/>
                  <a:gd name="T3" fmla="*/ 191 h 1828"/>
                  <a:gd name="T4" fmla="*/ 414 w 1824"/>
                  <a:gd name="T5" fmla="*/ 22 h 1828"/>
                  <a:gd name="T6" fmla="*/ 458 w 1824"/>
                  <a:gd name="T7" fmla="*/ 22 h 1828"/>
                  <a:gd name="T8" fmla="*/ 753 w 1824"/>
                  <a:gd name="T9" fmla="*/ 0 h 1828"/>
                  <a:gd name="T10" fmla="*/ 680 w 1824"/>
                  <a:gd name="T11" fmla="*/ 118 h 1828"/>
                  <a:gd name="T12" fmla="*/ 1071 w 1824"/>
                  <a:gd name="T13" fmla="*/ 0 h 1828"/>
                  <a:gd name="T14" fmla="*/ 1093 w 1824"/>
                  <a:gd name="T15" fmla="*/ 213 h 1828"/>
                  <a:gd name="T16" fmla="*/ 1366 w 1824"/>
                  <a:gd name="T17" fmla="*/ 22 h 1828"/>
                  <a:gd name="T18" fmla="*/ 1410 w 1824"/>
                  <a:gd name="T19" fmla="*/ 22 h 1828"/>
                  <a:gd name="T20" fmla="*/ 1706 w 1824"/>
                  <a:gd name="T21" fmla="*/ 0 h 1828"/>
                  <a:gd name="T22" fmla="*/ 1632 w 1824"/>
                  <a:gd name="T23" fmla="*/ 118 h 1828"/>
                  <a:gd name="T24" fmla="*/ 118 w 1824"/>
                  <a:gd name="T25" fmla="*/ 319 h 1828"/>
                  <a:gd name="T26" fmla="*/ 140 w 1824"/>
                  <a:gd name="T27" fmla="*/ 532 h 1828"/>
                  <a:gd name="T28" fmla="*/ 953 w 1824"/>
                  <a:gd name="T29" fmla="*/ 436 h 1828"/>
                  <a:gd name="T30" fmla="*/ 1071 w 1824"/>
                  <a:gd name="T31" fmla="*/ 363 h 1828"/>
                  <a:gd name="T32" fmla="*/ 1071 w 1824"/>
                  <a:gd name="T33" fmla="*/ 363 h 1828"/>
                  <a:gd name="T34" fmla="*/ 1388 w 1824"/>
                  <a:gd name="T35" fmla="*/ 554 h 1828"/>
                  <a:gd name="T36" fmla="*/ 1706 w 1824"/>
                  <a:gd name="T37" fmla="*/ 554 h 1828"/>
                  <a:gd name="T38" fmla="*/ 1706 w 1824"/>
                  <a:gd name="T39" fmla="*/ 554 h 1828"/>
                  <a:gd name="T40" fmla="*/ 1780 w 1824"/>
                  <a:gd name="T41" fmla="*/ 436 h 1828"/>
                  <a:gd name="T42" fmla="*/ 118 w 1824"/>
                  <a:gd name="T43" fmla="*/ 637 h 1828"/>
                  <a:gd name="T44" fmla="*/ 44 w 1824"/>
                  <a:gd name="T45" fmla="*/ 755 h 1828"/>
                  <a:gd name="T46" fmla="*/ 1071 w 1824"/>
                  <a:gd name="T47" fmla="*/ 872 h 1828"/>
                  <a:gd name="T48" fmla="*/ 1071 w 1824"/>
                  <a:gd name="T49" fmla="*/ 872 h 1828"/>
                  <a:gd name="T50" fmla="*/ 1144 w 1824"/>
                  <a:gd name="T51" fmla="*/ 755 h 1828"/>
                  <a:gd name="T52" fmla="*/ 1388 w 1824"/>
                  <a:gd name="T53" fmla="*/ 637 h 1828"/>
                  <a:gd name="T54" fmla="*/ 1315 w 1824"/>
                  <a:gd name="T55" fmla="*/ 755 h 1828"/>
                  <a:gd name="T56" fmla="*/ 1706 w 1824"/>
                  <a:gd name="T57" fmla="*/ 637 h 1828"/>
                  <a:gd name="T58" fmla="*/ 1728 w 1824"/>
                  <a:gd name="T59" fmla="*/ 850 h 1828"/>
                  <a:gd name="T60" fmla="*/ 96 w 1824"/>
                  <a:gd name="T61" fmla="*/ 978 h 1828"/>
                  <a:gd name="T62" fmla="*/ 140 w 1824"/>
                  <a:gd name="T63" fmla="*/ 978 h 1828"/>
                  <a:gd name="T64" fmla="*/ 436 w 1824"/>
                  <a:gd name="T65" fmla="*/ 956 h 1828"/>
                  <a:gd name="T66" fmla="*/ 362 w 1824"/>
                  <a:gd name="T67" fmla="*/ 1073 h 1828"/>
                  <a:gd name="T68" fmla="*/ 753 w 1824"/>
                  <a:gd name="T69" fmla="*/ 956 h 1828"/>
                  <a:gd name="T70" fmla="*/ 775 w 1824"/>
                  <a:gd name="T71" fmla="*/ 1169 h 1828"/>
                  <a:gd name="T72" fmla="*/ 1049 w 1824"/>
                  <a:gd name="T73" fmla="*/ 978 h 1828"/>
                  <a:gd name="T74" fmla="*/ 1093 w 1824"/>
                  <a:gd name="T75" fmla="*/ 978 h 1828"/>
                  <a:gd name="T76" fmla="*/ 1388 w 1824"/>
                  <a:gd name="T77" fmla="*/ 956 h 1828"/>
                  <a:gd name="T78" fmla="*/ 1315 w 1824"/>
                  <a:gd name="T79" fmla="*/ 1073 h 1828"/>
                  <a:gd name="T80" fmla="*/ 1706 w 1824"/>
                  <a:gd name="T81" fmla="*/ 956 h 1828"/>
                  <a:gd name="T82" fmla="*/ 1728 w 1824"/>
                  <a:gd name="T83" fmla="*/ 1169 h 1828"/>
                  <a:gd name="T84" fmla="*/ 0 w 1824"/>
                  <a:gd name="T85" fmla="*/ 1392 h 1828"/>
                  <a:gd name="T86" fmla="*/ 118 w 1824"/>
                  <a:gd name="T87" fmla="*/ 1318 h 1828"/>
                  <a:gd name="T88" fmla="*/ 118 w 1824"/>
                  <a:gd name="T89" fmla="*/ 1318 h 1828"/>
                  <a:gd name="T90" fmla="*/ 436 w 1824"/>
                  <a:gd name="T91" fmla="*/ 1509 h 1828"/>
                  <a:gd name="T92" fmla="*/ 753 w 1824"/>
                  <a:gd name="T93" fmla="*/ 1509 h 1828"/>
                  <a:gd name="T94" fmla="*/ 753 w 1824"/>
                  <a:gd name="T95" fmla="*/ 1509 h 1828"/>
                  <a:gd name="T96" fmla="*/ 827 w 1824"/>
                  <a:gd name="T97" fmla="*/ 1392 h 1828"/>
                  <a:gd name="T98" fmla="*/ 1706 w 1824"/>
                  <a:gd name="T99" fmla="*/ 1274 h 1828"/>
                  <a:gd name="T100" fmla="*/ 1632 w 1824"/>
                  <a:gd name="T101" fmla="*/ 1392 h 1828"/>
                  <a:gd name="T102" fmla="*/ 118 w 1824"/>
                  <a:gd name="T103" fmla="*/ 1828 h 1828"/>
                  <a:gd name="T104" fmla="*/ 118 w 1824"/>
                  <a:gd name="T105" fmla="*/ 1828 h 1828"/>
                  <a:gd name="T106" fmla="*/ 192 w 1824"/>
                  <a:gd name="T107" fmla="*/ 1710 h 1828"/>
                  <a:gd name="T108" fmla="*/ 414 w 1824"/>
                  <a:gd name="T109" fmla="*/ 1806 h 1828"/>
                  <a:gd name="T110" fmla="*/ 436 w 1824"/>
                  <a:gd name="T111" fmla="*/ 1593 h 1828"/>
                  <a:gd name="T112" fmla="*/ 871 w 1824"/>
                  <a:gd name="T113" fmla="*/ 1710 h 1828"/>
                  <a:gd name="T114" fmla="*/ 753 w 1824"/>
                  <a:gd name="T115" fmla="*/ 1784 h 1828"/>
                  <a:gd name="T116" fmla="*/ 1588 w 1824"/>
                  <a:gd name="T117" fmla="*/ 1710 h 1828"/>
                  <a:gd name="T118" fmla="*/ 1706 w 1824"/>
                  <a:gd name="T119" fmla="*/ 1637 h 1828"/>
                  <a:gd name="T120" fmla="*/ 1706 w 1824"/>
                  <a:gd name="T121" fmla="*/ 1637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24" h="1828">
                    <a:moveTo>
                      <a:pt x="118" y="235"/>
                    </a:moveTo>
                    <a:cubicBezTo>
                      <a:pt x="53" y="235"/>
                      <a:pt x="0" y="183"/>
                      <a:pt x="0" y="118"/>
                    </a:cubicBezTo>
                    <a:cubicBezTo>
                      <a:pt x="0" y="53"/>
                      <a:pt x="53" y="0"/>
                      <a:pt x="118" y="0"/>
                    </a:cubicBezTo>
                    <a:cubicBezTo>
                      <a:pt x="183" y="0"/>
                      <a:pt x="236" y="53"/>
                      <a:pt x="236" y="118"/>
                    </a:cubicBezTo>
                    <a:cubicBezTo>
                      <a:pt x="236" y="183"/>
                      <a:pt x="183" y="235"/>
                      <a:pt x="118" y="235"/>
                    </a:cubicBezTo>
                    <a:close/>
                    <a:moveTo>
                      <a:pt x="118" y="44"/>
                    </a:moveTo>
                    <a:cubicBezTo>
                      <a:pt x="77" y="44"/>
                      <a:pt x="44" y="77"/>
                      <a:pt x="44" y="118"/>
                    </a:cubicBezTo>
                    <a:cubicBezTo>
                      <a:pt x="44" y="158"/>
                      <a:pt x="77" y="191"/>
                      <a:pt x="118" y="191"/>
                    </a:cubicBezTo>
                    <a:cubicBezTo>
                      <a:pt x="159" y="191"/>
                      <a:pt x="192" y="158"/>
                      <a:pt x="192" y="118"/>
                    </a:cubicBezTo>
                    <a:cubicBezTo>
                      <a:pt x="192" y="77"/>
                      <a:pt x="159" y="44"/>
                      <a:pt x="118" y="44"/>
                    </a:cubicBezTo>
                    <a:close/>
                    <a:moveTo>
                      <a:pt x="436" y="0"/>
                    </a:moveTo>
                    <a:cubicBezTo>
                      <a:pt x="424" y="0"/>
                      <a:pt x="414" y="10"/>
                      <a:pt x="414" y="22"/>
                    </a:cubicBezTo>
                    <a:cubicBezTo>
                      <a:pt x="414" y="213"/>
                      <a:pt x="414" y="213"/>
                      <a:pt x="414" y="213"/>
                    </a:cubicBezTo>
                    <a:cubicBezTo>
                      <a:pt x="414" y="225"/>
                      <a:pt x="424" y="235"/>
                      <a:pt x="436" y="235"/>
                    </a:cubicBezTo>
                    <a:cubicBezTo>
                      <a:pt x="448" y="235"/>
                      <a:pt x="458" y="225"/>
                      <a:pt x="458" y="213"/>
                    </a:cubicBezTo>
                    <a:cubicBezTo>
                      <a:pt x="458" y="22"/>
                      <a:pt x="458" y="22"/>
                      <a:pt x="458" y="22"/>
                    </a:cubicBezTo>
                    <a:cubicBezTo>
                      <a:pt x="458" y="10"/>
                      <a:pt x="448" y="0"/>
                      <a:pt x="436" y="0"/>
                    </a:cubicBezTo>
                    <a:close/>
                    <a:moveTo>
                      <a:pt x="753" y="235"/>
                    </a:moveTo>
                    <a:cubicBezTo>
                      <a:pt x="688" y="235"/>
                      <a:pt x="636" y="183"/>
                      <a:pt x="636" y="118"/>
                    </a:cubicBezTo>
                    <a:cubicBezTo>
                      <a:pt x="636" y="53"/>
                      <a:pt x="688" y="0"/>
                      <a:pt x="753" y="0"/>
                    </a:cubicBezTo>
                    <a:cubicBezTo>
                      <a:pt x="818" y="0"/>
                      <a:pt x="871" y="53"/>
                      <a:pt x="871" y="118"/>
                    </a:cubicBezTo>
                    <a:cubicBezTo>
                      <a:pt x="871" y="183"/>
                      <a:pt x="818" y="235"/>
                      <a:pt x="753" y="235"/>
                    </a:cubicBezTo>
                    <a:close/>
                    <a:moveTo>
                      <a:pt x="753" y="44"/>
                    </a:moveTo>
                    <a:cubicBezTo>
                      <a:pt x="713" y="44"/>
                      <a:pt x="680" y="77"/>
                      <a:pt x="680" y="118"/>
                    </a:cubicBezTo>
                    <a:cubicBezTo>
                      <a:pt x="680" y="158"/>
                      <a:pt x="713" y="191"/>
                      <a:pt x="753" y="191"/>
                    </a:cubicBezTo>
                    <a:cubicBezTo>
                      <a:pt x="794" y="191"/>
                      <a:pt x="827" y="158"/>
                      <a:pt x="827" y="118"/>
                    </a:cubicBezTo>
                    <a:cubicBezTo>
                      <a:pt x="827" y="77"/>
                      <a:pt x="794" y="44"/>
                      <a:pt x="753" y="44"/>
                    </a:cubicBezTo>
                    <a:close/>
                    <a:moveTo>
                      <a:pt x="1071" y="0"/>
                    </a:moveTo>
                    <a:cubicBezTo>
                      <a:pt x="1059" y="0"/>
                      <a:pt x="1049" y="10"/>
                      <a:pt x="1049" y="22"/>
                    </a:cubicBezTo>
                    <a:cubicBezTo>
                      <a:pt x="1049" y="213"/>
                      <a:pt x="1049" y="213"/>
                      <a:pt x="1049" y="213"/>
                    </a:cubicBezTo>
                    <a:cubicBezTo>
                      <a:pt x="1049" y="225"/>
                      <a:pt x="1059" y="235"/>
                      <a:pt x="1071" y="235"/>
                    </a:cubicBezTo>
                    <a:cubicBezTo>
                      <a:pt x="1083" y="235"/>
                      <a:pt x="1093" y="225"/>
                      <a:pt x="1093" y="213"/>
                    </a:cubicBezTo>
                    <a:cubicBezTo>
                      <a:pt x="1093" y="22"/>
                      <a:pt x="1093" y="22"/>
                      <a:pt x="1093" y="22"/>
                    </a:cubicBezTo>
                    <a:cubicBezTo>
                      <a:pt x="1093" y="10"/>
                      <a:pt x="1083" y="0"/>
                      <a:pt x="1071" y="0"/>
                    </a:cubicBezTo>
                    <a:close/>
                    <a:moveTo>
                      <a:pt x="1388" y="0"/>
                    </a:moveTo>
                    <a:cubicBezTo>
                      <a:pt x="1376" y="0"/>
                      <a:pt x="1366" y="10"/>
                      <a:pt x="1366" y="22"/>
                    </a:cubicBezTo>
                    <a:cubicBezTo>
                      <a:pt x="1366" y="213"/>
                      <a:pt x="1366" y="213"/>
                      <a:pt x="1366" y="213"/>
                    </a:cubicBezTo>
                    <a:cubicBezTo>
                      <a:pt x="1366" y="225"/>
                      <a:pt x="1376" y="235"/>
                      <a:pt x="1388" y="235"/>
                    </a:cubicBezTo>
                    <a:cubicBezTo>
                      <a:pt x="1400" y="235"/>
                      <a:pt x="1410" y="225"/>
                      <a:pt x="1410" y="213"/>
                    </a:cubicBezTo>
                    <a:cubicBezTo>
                      <a:pt x="1410" y="22"/>
                      <a:pt x="1410" y="22"/>
                      <a:pt x="1410" y="22"/>
                    </a:cubicBezTo>
                    <a:cubicBezTo>
                      <a:pt x="1410" y="10"/>
                      <a:pt x="1400" y="0"/>
                      <a:pt x="1388" y="0"/>
                    </a:cubicBezTo>
                    <a:close/>
                    <a:moveTo>
                      <a:pt x="1706" y="235"/>
                    </a:moveTo>
                    <a:cubicBezTo>
                      <a:pt x="1641" y="235"/>
                      <a:pt x="1588" y="183"/>
                      <a:pt x="1588" y="118"/>
                    </a:cubicBezTo>
                    <a:cubicBezTo>
                      <a:pt x="1588" y="53"/>
                      <a:pt x="1641" y="0"/>
                      <a:pt x="1706" y="0"/>
                    </a:cubicBezTo>
                    <a:cubicBezTo>
                      <a:pt x="1771" y="0"/>
                      <a:pt x="1824" y="53"/>
                      <a:pt x="1824" y="118"/>
                    </a:cubicBezTo>
                    <a:cubicBezTo>
                      <a:pt x="1824" y="183"/>
                      <a:pt x="1771" y="235"/>
                      <a:pt x="1706" y="235"/>
                    </a:cubicBezTo>
                    <a:close/>
                    <a:moveTo>
                      <a:pt x="1706" y="44"/>
                    </a:moveTo>
                    <a:cubicBezTo>
                      <a:pt x="1665" y="44"/>
                      <a:pt x="1632" y="77"/>
                      <a:pt x="1632" y="118"/>
                    </a:cubicBezTo>
                    <a:cubicBezTo>
                      <a:pt x="1632" y="158"/>
                      <a:pt x="1665" y="191"/>
                      <a:pt x="1706" y="191"/>
                    </a:cubicBezTo>
                    <a:cubicBezTo>
                      <a:pt x="1747" y="191"/>
                      <a:pt x="1780" y="158"/>
                      <a:pt x="1780" y="118"/>
                    </a:cubicBezTo>
                    <a:cubicBezTo>
                      <a:pt x="1780" y="77"/>
                      <a:pt x="1747" y="44"/>
                      <a:pt x="1706" y="44"/>
                    </a:cubicBezTo>
                    <a:close/>
                    <a:moveTo>
                      <a:pt x="118" y="319"/>
                    </a:moveTo>
                    <a:cubicBezTo>
                      <a:pt x="106" y="319"/>
                      <a:pt x="96" y="328"/>
                      <a:pt x="96" y="341"/>
                    </a:cubicBezTo>
                    <a:cubicBezTo>
                      <a:pt x="96" y="532"/>
                      <a:pt x="96" y="532"/>
                      <a:pt x="96" y="532"/>
                    </a:cubicBezTo>
                    <a:cubicBezTo>
                      <a:pt x="96" y="544"/>
                      <a:pt x="106" y="554"/>
                      <a:pt x="118" y="554"/>
                    </a:cubicBezTo>
                    <a:cubicBezTo>
                      <a:pt x="130" y="554"/>
                      <a:pt x="140" y="544"/>
                      <a:pt x="140" y="532"/>
                    </a:cubicBezTo>
                    <a:cubicBezTo>
                      <a:pt x="140" y="341"/>
                      <a:pt x="140" y="341"/>
                      <a:pt x="140" y="341"/>
                    </a:cubicBezTo>
                    <a:cubicBezTo>
                      <a:pt x="140" y="328"/>
                      <a:pt x="130" y="319"/>
                      <a:pt x="118" y="319"/>
                    </a:cubicBezTo>
                    <a:close/>
                    <a:moveTo>
                      <a:pt x="1071" y="554"/>
                    </a:moveTo>
                    <a:cubicBezTo>
                      <a:pt x="1006" y="554"/>
                      <a:pt x="953" y="501"/>
                      <a:pt x="953" y="436"/>
                    </a:cubicBezTo>
                    <a:cubicBezTo>
                      <a:pt x="953" y="371"/>
                      <a:pt x="1006" y="319"/>
                      <a:pt x="1071" y="319"/>
                    </a:cubicBezTo>
                    <a:cubicBezTo>
                      <a:pt x="1136" y="319"/>
                      <a:pt x="1188" y="371"/>
                      <a:pt x="1188" y="436"/>
                    </a:cubicBezTo>
                    <a:cubicBezTo>
                      <a:pt x="1188" y="501"/>
                      <a:pt x="1136" y="554"/>
                      <a:pt x="1071" y="554"/>
                    </a:cubicBezTo>
                    <a:close/>
                    <a:moveTo>
                      <a:pt x="1071" y="363"/>
                    </a:moveTo>
                    <a:cubicBezTo>
                      <a:pt x="1030" y="363"/>
                      <a:pt x="997" y="396"/>
                      <a:pt x="997" y="436"/>
                    </a:cubicBezTo>
                    <a:cubicBezTo>
                      <a:pt x="997" y="477"/>
                      <a:pt x="1030" y="510"/>
                      <a:pt x="1071" y="510"/>
                    </a:cubicBezTo>
                    <a:cubicBezTo>
                      <a:pt x="1111" y="510"/>
                      <a:pt x="1144" y="477"/>
                      <a:pt x="1144" y="436"/>
                    </a:cubicBezTo>
                    <a:cubicBezTo>
                      <a:pt x="1144" y="396"/>
                      <a:pt x="1111" y="363"/>
                      <a:pt x="1071" y="363"/>
                    </a:cubicBezTo>
                    <a:close/>
                    <a:moveTo>
                      <a:pt x="1388" y="319"/>
                    </a:moveTo>
                    <a:cubicBezTo>
                      <a:pt x="1376" y="319"/>
                      <a:pt x="1366" y="328"/>
                      <a:pt x="1366" y="341"/>
                    </a:cubicBezTo>
                    <a:cubicBezTo>
                      <a:pt x="1366" y="532"/>
                      <a:pt x="1366" y="532"/>
                      <a:pt x="1366" y="532"/>
                    </a:cubicBezTo>
                    <a:cubicBezTo>
                      <a:pt x="1366" y="544"/>
                      <a:pt x="1376" y="554"/>
                      <a:pt x="1388" y="554"/>
                    </a:cubicBezTo>
                    <a:cubicBezTo>
                      <a:pt x="1400" y="554"/>
                      <a:pt x="1410" y="544"/>
                      <a:pt x="1410" y="532"/>
                    </a:cubicBezTo>
                    <a:cubicBezTo>
                      <a:pt x="1410" y="341"/>
                      <a:pt x="1410" y="341"/>
                      <a:pt x="1410" y="341"/>
                    </a:cubicBezTo>
                    <a:cubicBezTo>
                      <a:pt x="1410" y="328"/>
                      <a:pt x="1400" y="319"/>
                      <a:pt x="1388" y="319"/>
                    </a:cubicBezTo>
                    <a:close/>
                    <a:moveTo>
                      <a:pt x="1706" y="554"/>
                    </a:moveTo>
                    <a:cubicBezTo>
                      <a:pt x="1641" y="554"/>
                      <a:pt x="1588" y="501"/>
                      <a:pt x="1588" y="436"/>
                    </a:cubicBezTo>
                    <a:cubicBezTo>
                      <a:pt x="1588" y="371"/>
                      <a:pt x="1641" y="319"/>
                      <a:pt x="1706" y="319"/>
                    </a:cubicBezTo>
                    <a:cubicBezTo>
                      <a:pt x="1771" y="319"/>
                      <a:pt x="1824" y="371"/>
                      <a:pt x="1824" y="436"/>
                    </a:cubicBezTo>
                    <a:cubicBezTo>
                      <a:pt x="1824" y="501"/>
                      <a:pt x="1771" y="554"/>
                      <a:pt x="1706" y="554"/>
                    </a:cubicBezTo>
                    <a:close/>
                    <a:moveTo>
                      <a:pt x="1706" y="363"/>
                    </a:moveTo>
                    <a:cubicBezTo>
                      <a:pt x="1665" y="363"/>
                      <a:pt x="1632" y="396"/>
                      <a:pt x="1632" y="436"/>
                    </a:cubicBezTo>
                    <a:cubicBezTo>
                      <a:pt x="1632" y="477"/>
                      <a:pt x="1665" y="510"/>
                      <a:pt x="1706" y="510"/>
                    </a:cubicBezTo>
                    <a:cubicBezTo>
                      <a:pt x="1747" y="510"/>
                      <a:pt x="1780" y="477"/>
                      <a:pt x="1780" y="436"/>
                    </a:cubicBezTo>
                    <a:cubicBezTo>
                      <a:pt x="1780" y="396"/>
                      <a:pt x="1747" y="363"/>
                      <a:pt x="1706" y="363"/>
                    </a:cubicBezTo>
                    <a:close/>
                    <a:moveTo>
                      <a:pt x="118" y="872"/>
                    </a:moveTo>
                    <a:cubicBezTo>
                      <a:pt x="53" y="872"/>
                      <a:pt x="0" y="820"/>
                      <a:pt x="0" y="755"/>
                    </a:cubicBezTo>
                    <a:cubicBezTo>
                      <a:pt x="0" y="690"/>
                      <a:pt x="53" y="637"/>
                      <a:pt x="118" y="637"/>
                    </a:cubicBezTo>
                    <a:cubicBezTo>
                      <a:pt x="183" y="637"/>
                      <a:pt x="236" y="690"/>
                      <a:pt x="236" y="755"/>
                    </a:cubicBezTo>
                    <a:cubicBezTo>
                      <a:pt x="236" y="820"/>
                      <a:pt x="183" y="872"/>
                      <a:pt x="118" y="872"/>
                    </a:cubicBezTo>
                    <a:close/>
                    <a:moveTo>
                      <a:pt x="118" y="681"/>
                    </a:moveTo>
                    <a:cubicBezTo>
                      <a:pt x="77" y="681"/>
                      <a:pt x="44" y="714"/>
                      <a:pt x="44" y="755"/>
                    </a:cubicBezTo>
                    <a:cubicBezTo>
                      <a:pt x="44" y="795"/>
                      <a:pt x="77" y="828"/>
                      <a:pt x="118" y="828"/>
                    </a:cubicBezTo>
                    <a:cubicBezTo>
                      <a:pt x="159" y="828"/>
                      <a:pt x="192" y="795"/>
                      <a:pt x="192" y="755"/>
                    </a:cubicBezTo>
                    <a:cubicBezTo>
                      <a:pt x="192" y="714"/>
                      <a:pt x="159" y="681"/>
                      <a:pt x="118" y="681"/>
                    </a:cubicBezTo>
                    <a:close/>
                    <a:moveTo>
                      <a:pt x="1071" y="872"/>
                    </a:moveTo>
                    <a:cubicBezTo>
                      <a:pt x="1006" y="872"/>
                      <a:pt x="953" y="820"/>
                      <a:pt x="953" y="755"/>
                    </a:cubicBezTo>
                    <a:cubicBezTo>
                      <a:pt x="953" y="690"/>
                      <a:pt x="1006" y="637"/>
                      <a:pt x="1071" y="637"/>
                    </a:cubicBezTo>
                    <a:cubicBezTo>
                      <a:pt x="1136" y="637"/>
                      <a:pt x="1188" y="690"/>
                      <a:pt x="1188" y="755"/>
                    </a:cubicBezTo>
                    <a:cubicBezTo>
                      <a:pt x="1188" y="820"/>
                      <a:pt x="1136" y="872"/>
                      <a:pt x="1071" y="872"/>
                    </a:cubicBezTo>
                    <a:close/>
                    <a:moveTo>
                      <a:pt x="1071" y="681"/>
                    </a:moveTo>
                    <a:cubicBezTo>
                      <a:pt x="1030" y="681"/>
                      <a:pt x="997" y="714"/>
                      <a:pt x="997" y="755"/>
                    </a:cubicBezTo>
                    <a:cubicBezTo>
                      <a:pt x="997" y="795"/>
                      <a:pt x="1030" y="828"/>
                      <a:pt x="1071" y="828"/>
                    </a:cubicBezTo>
                    <a:cubicBezTo>
                      <a:pt x="1111" y="828"/>
                      <a:pt x="1144" y="795"/>
                      <a:pt x="1144" y="755"/>
                    </a:cubicBezTo>
                    <a:cubicBezTo>
                      <a:pt x="1144" y="714"/>
                      <a:pt x="1111" y="681"/>
                      <a:pt x="1071" y="681"/>
                    </a:cubicBezTo>
                    <a:close/>
                    <a:moveTo>
                      <a:pt x="1388" y="872"/>
                    </a:moveTo>
                    <a:cubicBezTo>
                      <a:pt x="1323" y="872"/>
                      <a:pt x="1271" y="820"/>
                      <a:pt x="1271" y="755"/>
                    </a:cubicBezTo>
                    <a:cubicBezTo>
                      <a:pt x="1271" y="690"/>
                      <a:pt x="1323" y="637"/>
                      <a:pt x="1388" y="637"/>
                    </a:cubicBezTo>
                    <a:cubicBezTo>
                      <a:pt x="1453" y="637"/>
                      <a:pt x="1506" y="690"/>
                      <a:pt x="1506" y="755"/>
                    </a:cubicBezTo>
                    <a:cubicBezTo>
                      <a:pt x="1506" y="820"/>
                      <a:pt x="1453" y="872"/>
                      <a:pt x="1388" y="872"/>
                    </a:cubicBezTo>
                    <a:close/>
                    <a:moveTo>
                      <a:pt x="1388" y="681"/>
                    </a:moveTo>
                    <a:cubicBezTo>
                      <a:pt x="1348" y="681"/>
                      <a:pt x="1315" y="714"/>
                      <a:pt x="1315" y="755"/>
                    </a:cubicBezTo>
                    <a:cubicBezTo>
                      <a:pt x="1315" y="795"/>
                      <a:pt x="1348" y="828"/>
                      <a:pt x="1388" y="828"/>
                    </a:cubicBezTo>
                    <a:cubicBezTo>
                      <a:pt x="1429" y="828"/>
                      <a:pt x="1462" y="795"/>
                      <a:pt x="1462" y="755"/>
                    </a:cubicBezTo>
                    <a:cubicBezTo>
                      <a:pt x="1462" y="714"/>
                      <a:pt x="1429" y="681"/>
                      <a:pt x="1388" y="681"/>
                    </a:cubicBezTo>
                    <a:close/>
                    <a:moveTo>
                      <a:pt x="1706" y="637"/>
                    </a:moveTo>
                    <a:cubicBezTo>
                      <a:pt x="1694" y="637"/>
                      <a:pt x="1684" y="647"/>
                      <a:pt x="1684" y="659"/>
                    </a:cubicBezTo>
                    <a:cubicBezTo>
                      <a:pt x="1684" y="850"/>
                      <a:pt x="1684" y="850"/>
                      <a:pt x="1684" y="850"/>
                    </a:cubicBezTo>
                    <a:cubicBezTo>
                      <a:pt x="1684" y="863"/>
                      <a:pt x="1694" y="872"/>
                      <a:pt x="1706" y="872"/>
                    </a:cubicBezTo>
                    <a:cubicBezTo>
                      <a:pt x="1718" y="872"/>
                      <a:pt x="1728" y="863"/>
                      <a:pt x="1728" y="850"/>
                    </a:cubicBezTo>
                    <a:cubicBezTo>
                      <a:pt x="1728" y="659"/>
                      <a:pt x="1728" y="659"/>
                      <a:pt x="1728" y="659"/>
                    </a:cubicBezTo>
                    <a:cubicBezTo>
                      <a:pt x="1728" y="647"/>
                      <a:pt x="1718" y="637"/>
                      <a:pt x="1706" y="637"/>
                    </a:cubicBezTo>
                    <a:close/>
                    <a:moveTo>
                      <a:pt x="118" y="956"/>
                    </a:moveTo>
                    <a:cubicBezTo>
                      <a:pt x="106" y="956"/>
                      <a:pt x="96" y="965"/>
                      <a:pt x="96" y="978"/>
                    </a:cubicBezTo>
                    <a:cubicBezTo>
                      <a:pt x="96" y="1169"/>
                      <a:pt x="96" y="1169"/>
                      <a:pt x="96" y="1169"/>
                    </a:cubicBezTo>
                    <a:cubicBezTo>
                      <a:pt x="96" y="1181"/>
                      <a:pt x="106" y="1191"/>
                      <a:pt x="118" y="1191"/>
                    </a:cubicBezTo>
                    <a:cubicBezTo>
                      <a:pt x="130" y="1191"/>
                      <a:pt x="140" y="1181"/>
                      <a:pt x="140" y="1169"/>
                    </a:cubicBezTo>
                    <a:cubicBezTo>
                      <a:pt x="140" y="978"/>
                      <a:pt x="140" y="978"/>
                      <a:pt x="140" y="978"/>
                    </a:cubicBezTo>
                    <a:cubicBezTo>
                      <a:pt x="140" y="965"/>
                      <a:pt x="130" y="956"/>
                      <a:pt x="118" y="956"/>
                    </a:cubicBezTo>
                    <a:close/>
                    <a:moveTo>
                      <a:pt x="436" y="1191"/>
                    </a:moveTo>
                    <a:cubicBezTo>
                      <a:pt x="371" y="1191"/>
                      <a:pt x="318" y="1138"/>
                      <a:pt x="318" y="1073"/>
                    </a:cubicBezTo>
                    <a:cubicBezTo>
                      <a:pt x="318" y="1008"/>
                      <a:pt x="371" y="956"/>
                      <a:pt x="436" y="956"/>
                    </a:cubicBezTo>
                    <a:cubicBezTo>
                      <a:pt x="501" y="956"/>
                      <a:pt x="553" y="1008"/>
                      <a:pt x="553" y="1073"/>
                    </a:cubicBezTo>
                    <a:cubicBezTo>
                      <a:pt x="553" y="1138"/>
                      <a:pt x="501" y="1191"/>
                      <a:pt x="436" y="1191"/>
                    </a:cubicBezTo>
                    <a:close/>
                    <a:moveTo>
                      <a:pt x="436" y="1000"/>
                    </a:moveTo>
                    <a:cubicBezTo>
                      <a:pt x="395" y="1000"/>
                      <a:pt x="362" y="1033"/>
                      <a:pt x="362" y="1073"/>
                    </a:cubicBezTo>
                    <a:cubicBezTo>
                      <a:pt x="362" y="1114"/>
                      <a:pt x="395" y="1147"/>
                      <a:pt x="436" y="1147"/>
                    </a:cubicBezTo>
                    <a:cubicBezTo>
                      <a:pt x="476" y="1147"/>
                      <a:pt x="509" y="1114"/>
                      <a:pt x="509" y="1073"/>
                    </a:cubicBezTo>
                    <a:cubicBezTo>
                      <a:pt x="509" y="1033"/>
                      <a:pt x="476" y="1000"/>
                      <a:pt x="436" y="1000"/>
                    </a:cubicBezTo>
                    <a:close/>
                    <a:moveTo>
                      <a:pt x="753" y="956"/>
                    </a:moveTo>
                    <a:cubicBezTo>
                      <a:pt x="741" y="956"/>
                      <a:pt x="731" y="965"/>
                      <a:pt x="731" y="978"/>
                    </a:cubicBezTo>
                    <a:cubicBezTo>
                      <a:pt x="731" y="1169"/>
                      <a:pt x="731" y="1169"/>
                      <a:pt x="731" y="1169"/>
                    </a:cubicBezTo>
                    <a:cubicBezTo>
                      <a:pt x="731" y="1181"/>
                      <a:pt x="741" y="1191"/>
                      <a:pt x="753" y="1191"/>
                    </a:cubicBezTo>
                    <a:cubicBezTo>
                      <a:pt x="765" y="1191"/>
                      <a:pt x="775" y="1181"/>
                      <a:pt x="775" y="1169"/>
                    </a:cubicBezTo>
                    <a:cubicBezTo>
                      <a:pt x="775" y="978"/>
                      <a:pt x="775" y="978"/>
                      <a:pt x="775" y="978"/>
                    </a:cubicBezTo>
                    <a:cubicBezTo>
                      <a:pt x="775" y="965"/>
                      <a:pt x="765" y="956"/>
                      <a:pt x="753" y="956"/>
                    </a:cubicBezTo>
                    <a:close/>
                    <a:moveTo>
                      <a:pt x="1071" y="956"/>
                    </a:moveTo>
                    <a:cubicBezTo>
                      <a:pt x="1059" y="956"/>
                      <a:pt x="1049" y="965"/>
                      <a:pt x="1049" y="978"/>
                    </a:cubicBezTo>
                    <a:cubicBezTo>
                      <a:pt x="1049" y="1169"/>
                      <a:pt x="1049" y="1169"/>
                      <a:pt x="1049" y="1169"/>
                    </a:cubicBezTo>
                    <a:cubicBezTo>
                      <a:pt x="1049" y="1181"/>
                      <a:pt x="1059" y="1191"/>
                      <a:pt x="1071" y="1191"/>
                    </a:cubicBezTo>
                    <a:cubicBezTo>
                      <a:pt x="1083" y="1191"/>
                      <a:pt x="1093" y="1181"/>
                      <a:pt x="1093" y="1169"/>
                    </a:cubicBezTo>
                    <a:cubicBezTo>
                      <a:pt x="1093" y="978"/>
                      <a:pt x="1093" y="978"/>
                      <a:pt x="1093" y="978"/>
                    </a:cubicBezTo>
                    <a:cubicBezTo>
                      <a:pt x="1093" y="965"/>
                      <a:pt x="1083" y="956"/>
                      <a:pt x="1071" y="956"/>
                    </a:cubicBezTo>
                    <a:close/>
                    <a:moveTo>
                      <a:pt x="1388" y="1191"/>
                    </a:moveTo>
                    <a:cubicBezTo>
                      <a:pt x="1323" y="1191"/>
                      <a:pt x="1271" y="1138"/>
                      <a:pt x="1271" y="1073"/>
                    </a:cubicBezTo>
                    <a:cubicBezTo>
                      <a:pt x="1271" y="1008"/>
                      <a:pt x="1323" y="956"/>
                      <a:pt x="1388" y="956"/>
                    </a:cubicBezTo>
                    <a:cubicBezTo>
                      <a:pt x="1453" y="956"/>
                      <a:pt x="1506" y="1008"/>
                      <a:pt x="1506" y="1073"/>
                    </a:cubicBezTo>
                    <a:cubicBezTo>
                      <a:pt x="1506" y="1138"/>
                      <a:pt x="1453" y="1191"/>
                      <a:pt x="1388" y="1191"/>
                    </a:cubicBezTo>
                    <a:close/>
                    <a:moveTo>
                      <a:pt x="1388" y="1000"/>
                    </a:moveTo>
                    <a:cubicBezTo>
                      <a:pt x="1348" y="1000"/>
                      <a:pt x="1315" y="1033"/>
                      <a:pt x="1315" y="1073"/>
                    </a:cubicBezTo>
                    <a:cubicBezTo>
                      <a:pt x="1315" y="1114"/>
                      <a:pt x="1348" y="1147"/>
                      <a:pt x="1388" y="1147"/>
                    </a:cubicBezTo>
                    <a:cubicBezTo>
                      <a:pt x="1429" y="1147"/>
                      <a:pt x="1462" y="1114"/>
                      <a:pt x="1462" y="1073"/>
                    </a:cubicBezTo>
                    <a:cubicBezTo>
                      <a:pt x="1462" y="1033"/>
                      <a:pt x="1429" y="1000"/>
                      <a:pt x="1388" y="1000"/>
                    </a:cubicBezTo>
                    <a:close/>
                    <a:moveTo>
                      <a:pt x="1706" y="956"/>
                    </a:moveTo>
                    <a:cubicBezTo>
                      <a:pt x="1694" y="956"/>
                      <a:pt x="1684" y="965"/>
                      <a:pt x="1684" y="978"/>
                    </a:cubicBezTo>
                    <a:cubicBezTo>
                      <a:pt x="1684" y="1169"/>
                      <a:pt x="1684" y="1169"/>
                      <a:pt x="1684" y="1169"/>
                    </a:cubicBezTo>
                    <a:cubicBezTo>
                      <a:pt x="1684" y="1181"/>
                      <a:pt x="1694" y="1191"/>
                      <a:pt x="1706" y="1191"/>
                    </a:cubicBezTo>
                    <a:cubicBezTo>
                      <a:pt x="1718" y="1191"/>
                      <a:pt x="1728" y="1181"/>
                      <a:pt x="1728" y="1169"/>
                    </a:cubicBezTo>
                    <a:cubicBezTo>
                      <a:pt x="1728" y="978"/>
                      <a:pt x="1728" y="978"/>
                      <a:pt x="1728" y="978"/>
                    </a:cubicBezTo>
                    <a:cubicBezTo>
                      <a:pt x="1728" y="965"/>
                      <a:pt x="1718" y="956"/>
                      <a:pt x="1706" y="956"/>
                    </a:cubicBezTo>
                    <a:close/>
                    <a:moveTo>
                      <a:pt x="118" y="1509"/>
                    </a:moveTo>
                    <a:cubicBezTo>
                      <a:pt x="53" y="1509"/>
                      <a:pt x="0" y="1457"/>
                      <a:pt x="0" y="1392"/>
                    </a:cubicBezTo>
                    <a:cubicBezTo>
                      <a:pt x="0" y="1327"/>
                      <a:pt x="53" y="1274"/>
                      <a:pt x="118" y="1274"/>
                    </a:cubicBezTo>
                    <a:cubicBezTo>
                      <a:pt x="183" y="1274"/>
                      <a:pt x="236" y="1327"/>
                      <a:pt x="236" y="1392"/>
                    </a:cubicBezTo>
                    <a:cubicBezTo>
                      <a:pt x="236" y="1457"/>
                      <a:pt x="183" y="1509"/>
                      <a:pt x="118" y="1509"/>
                    </a:cubicBezTo>
                    <a:close/>
                    <a:moveTo>
                      <a:pt x="118" y="1318"/>
                    </a:moveTo>
                    <a:cubicBezTo>
                      <a:pt x="77" y="1318"/>
                      <a:pt x="44" y="1351"/>
                      <a:pt x="44" y="1392"/>
                    </a:cubicBezTo>
                    <a:cubicBezTo>
                      <a:pt x="44" y="1432"/>
                      <a:pt x="77" y="1465"/>
                      <a:pt x="118" y="1465"/>
                    </a:cubicBezTo>
                    <a:cubicBezTo>
                      <a:pt x="159" y="1465"/>
                      <a:pt x="192" y="1432"/>
                      <a:pt x="192" y="1392"/>
                    </a:cubicBezTo>
                    <a:cubicBezTo>
                      <a:pt x="192" y="1351"/>
                      <a:pt x="159" y="1318"/>
                      <a:pt x="118" y="1318"/>
                    </a:cubicBezTo>
                    <a:close/>
                    <a:moveTo>
                      <a:pt x="436" y="1274"/>
                    </a:moveTo>
                    <a:cubicBezTo>
                      <a:pt x="424" y="1274"/>
                      <a:pt x="414" y="1284"/>
                      <a:pt x="414" y="1296"/>
                    </a:cubicBezTo>
                    <a:cubicBezTo>
                      <a:pt x="414" y="1487"/>
                      <a:pt x="414" y="1487"/>
                      <a:pt x="414" y="1487"/>
                    </a:cubicBezTo>
                    <a:cubicBezTo>
                      <a:pt x="414" y="1500"/>
                      <a:pt x="424" y="1509"/>
                      <a:pt x="436" y="1509"/>
                    </a:cubicBezTo>
                    <a:cubicBezTo>
                      <a:pt x="448" y="1509"/>
                      <a:pt x="458" y="1500"/>
                      <a:pt x="458" y="1487"/>
                    </a:cubicBezTo>
                    <a:cubicBezTo>
                      <a:pt x="458" y="1296"/>
                      <a:pt x="458" y="1296"/>
                      <a:pt x="458" y="1296"/>
                    </a:cubicBezTo>
                    <a:cubicBezTo>
                      <a:pt x="458" y="1284"/>
                      <a:pt x="448" y="1274"/>
                      <a:pt x="436" y="1274"/>
                    </a:cubicBezTo>
                    <a:close/>
                    <a:moveTo>
                      <a:pt x="753" y="1509"/>
                    </a:moveTo>
                    <a:cubicBezTo>
                      <a:pt x="688" y="1509"/>
                      <a:pt x="636" y="1457"/>
                      <a:pt x="636" y="1392"/>
                    </a:cubicBezTo>
                    <a:cubicBezTo>
                      <a:pt x="636" y="1327"/>
                      <a:pt x="688" y="1274"/>
                      <a:pt x="753" y="1274"/>
                    </a:cubicBezTo>
                    <a:cubicBezTo>
                      <a:pt x="818" y="1274"/>
                      <a:pt x="871" y="1327"/>
                      <a:pt x="871" y="1392"/>
                    </a:cubicBezTo>
                    <a:cubicBezTo>
                      <a:pt x="871" y="1457"/>
                      <a:pt x="818" y="1509"/>
                      <a:pt x="753" y="1509"/>
                    </a:cubicBezTo>
                    <a:close/>
                    <a:moveTo>
                      <a:pt x="753" y="1318"/>
                    </a:moveTo>
                    <a:cubicBezTo>
                      <a:pt x="713" y="1318"/>
                      <a:pt x="680" y="1351"/>
                      <a:pt x="680" y="1392"/>
                    </a:cubicBezTo>
                    <a:cubicBezTo>
                      <a:pt x="680" y="1432"/>
                      <a:pt x="713" y="1465"/>
                      <a:pt x="753" y="1465"/>
                    </a:cubicBezTo>
                    <a:cubicBezTo>
                      <a:pt x="794" y="1465"/>
                      <a:pt x="827" y="1432"/>
                      <a:pt x="827" y="1392"/>
                    </a:cubicBezTo>
                    <a:cubicBezTo>
                      <a:pt x="827" y="1351"/>
                      <a:pt x="794" y="1318"/>
                      <a:pt x="753" y="1318"/>
                    </a:cubicBezTo>
                    <a:close/>
                    <a:moveTo>
                      <a:pt x="1706" y="1509"/>
                    </a:moveTo>
                    <a:cubicBezTo>
                      <a:pt x="1641" y="1509"/>
                      <a:pt x="1588" y="1457"/>
                      <a:pt x="1588" y="1392"/>
                    </a:cubicBezTo>
                    <a:cubicBezTo>
                      <a:pt x="1588" y="1327"/>
                      <a:pt x="1641" y="1274"/>
                      <a:pt x="1706" y="1274"/>
                    </a:cubicBezTo>
                    <a:cubicBezTo>
                      <a:pt x="1771" y="1274"/>
                      <a:pt x="1824" y="1327"/>
                      <a:pt x="1824" y="1392"/>
                    </a:cubicBezTo>
                    <a:cubicBezTo>
                      <a:pt x="1824" y="1457"/>
                      <a:pt x="1771" y="1509"/>
                      <a:pt x="1706" y="1509"/>
                    </a:cubicBezTo>
                    <a:close/>
                    <a:moveTo>
                      <a:pt x="1706" y="1318"/>
                    </a:moveTo>
                    <a:cubicBezTo>
                      <a:pt x="1665" y="1318"/>
                      <a:pt x="1632" y="1351"/>
                      <a:pt x="1632" y="1392"/>
                    </a:cubicBezTo>
                    <a:cubicBezTo>
                      <a:pt x="1632" y="1432"/>
                      <a:pt x="1665" y="1465"/>
                      <a:pt x="1706" y="1465"/>
                    </a:cubicBezTo>
                    <a:cubicBezTo>
                      <a:pt x="1747" y="1465"/>
                      <a:pt x="1780" y="1432"/>
                      <a:pt x="1780" y="1392"/>
                    </a:cubicBezTo>
                    <a:cubicBezTo>
                      <a:pt x="1780" y="1351"/>
                      <a:pt x="1747" y="1318"/>
                      <a:pt x="1706" y="1318"/>
                    </a:cubicBezTo>
                    <a:close/>
                    <a:moveTo>
                      <a:pt x="118" y="1828"/>
                    </a:moveTo>
                    <a:cubicBezTo>
                      <a:pt x="53" y="1828"/>
                      <a:pt x="0" y="1775"/>
                      <a:pt x="0" y="1710"/>
                    </a:cubicBezTo>
                    <a:cubicBezTo>
                      <a:pt x="0" y="1645"/>
                      <a:pt x="53" y="1593"/>
                      <a:pt x="118" y="1593"/>
                    </a:cubicBezTo>
                    <a:cubicBezTo>
                      <a:pt x="183" y="1593"/>
                      <a:pt x="236" y="1645"/>
                      <a:pt x="236" y="1710"/>
                    </a:cubicBezTo>
                    <a:cubicBezTo>
                      <a:pt x="236" y="1775"/>
                      <a:pt x="183" y="1828"/>
                      <a:pt x="118" y="1828"/>
                    </a:cubicBezTo>
                    <a:close/>
                    <a:moveTo>
                      <a:pt x="118" y="1637"/>
                    </a:moveTo>
                    <a:cubicBezTo>
                      <a:pt x="77" y="1637"/>
                      <a:pt x="44" y="1670"/>
                      <a:pt x="44" y="1710"/>
                    </a:cubicBezTo>
                    <a:cubicBezTo>
                      <a:pt x="44" y="1751"/>
                      <a:pt x="77" y="1784"/>
                      <a:pt x="118" y="1784"/>
                    </a:cubicBezTo>
                    <a:cubicBezTo>
                      <a:pt x="159" y="1784"/>
                      <a:pt x="192" y="1751"/>
                      <a:pt x="192" y="1710"/>
                    </a:cubicBezTo>
                    <a:cubicBezTo>
                      <a:pt x="192" y="1670"/>
                      <a:pt x="159" y="1637"/>
                      <a:pt x="118" y="1637"/>
                    </a:cubicBezTo>
                    <a:close/>
                    <a:moveTo>
                      <a:pt x="436" y="1593"/>
                    </a:moveTo>
                    <a:cubicBezTo>
                      <a:pt x="424" y="1593"/>
                      <a:pt x="414" y="1603"/>
                      <a:pt x="414" y="1615"/>
                    </a:cubicBezTo>
                    <a:cubicBezTo>
                      <a:pt x="414" y="1806"/>
                      <a:pt x="414" y="1806"/>
                      <a:pt x="414" y="1806"/>
                    </a:cubicBezTo>
                    <a:cubicBezTo>
                      <a:pt x="414" y="1818"/>
                      <a:pt x="424" y="1828"/>
                      <a:pt x="436" y="1828"/>
                    </a:cubicBezTo>
                    <a:cubicBezTo>
                      <a:pt x="448" y="1828"/>
                      <a:pt x="458" y="1818"/>
                      <a:pt x="458" y="1806"/>
                    </a:cubicBezTo>
                    <a:cubicBezTo>
                      <a:pt x="458" y="1615"/>
                      <a:pt x="458" y="1615"/>
                      <a:pt x="458" y="1615"/>
                    </a:cubicBezTo>
                    <a:cubicBezTo>
                      <a:pt x="458" y="1603"/>
                      <a:pt x="448" y="1593"/>
                      <a:pt x="436" y="1593"/>
                    </a:cubicBezTo>
                    <a:close/>
                    <a:moveTo>
                      <a:pt x="753" y="1828"/>
                    </a:moveTo>
                    <a:cubicBezTo>
                      <a:pt x="688" y="1828"/>
                      <a:pt x="636" y="1775"/>
                      <a:pt x="636" y="1710"/>
                    </a:cubicBezTo>
                    <a:cubicBezTo>
                      <a:pt x="636" y="1645"/>
                      <a:pt x="688" y="1593"/>
                      <a:pt x="753" y="1593"/>
                    </a:cubicBezTo>
                    <a:cubicBezTo>
                      <a:pt x="818" y="1593"/>
                      <a:pt x="871" y="1645"/>
                      <a:pt x="871" y="1710"/>
                    </a:cubicBezTo>
                    <a:cubicBezTo>
                      <a:pt x="871" y="1775"/>
                      <a:pt x="818" y="1828"/>
                      <a:pt x="753" y="1828"/>
                    </a:cubicBezTo>
                    <a:close/>
                    <a:moveTo>
                      <a:pt x="753" y="1637"/>
                    </a:moveTo>
                    <a:cubicBezTo>
                      <a:pt x="713" y="1637"/>
                      <a:pt x="680" y="1670"/>
                      <a:pt x="680" y="1710"/>
                    </a:cubicBezTo>
                    <a:cubicBezTo>
                      <a:pt x="680" y="1751"/>
                      <a:pt x="713" y="1784"/>
                      <a:pt x="753" y="1784"/>
                    </a:cubicBezTo>
                    <a:cubicBezTo>
                      <a:pt x="794" y="1784"/>
                      <a:pt x="827" y="1751"/>
                      <a:pt x="827" y="1710"/>
                    </a:cubicBezTo>
                    <a:cubicBezTo>
                      <a:pt x="827" y="1670"/>
                      <a:pt x="794" y="1637"/>
                      <a:pt x="753" y="1637"/>
                    </a:cubicBezTo>
                    <a:close/>
                    <a:moveTo>
                      <a:pt x="1706" y="1828"/>
                    </a:moveTo>
                    <a:cubicBezTo>
                      <a:pt x="1641" y="1828"/>
                      <a:pt x="1588" y="1775"/>
                      <a:pt x="1588" y="1710"/>
                    </a:cubicBezTo>
                    <a:cubicBezTo>
                      <a:pt x="1588" y="1645"/>
                      <a:pt x="1641" y="1593"/>
                      <a:pt x="1706" y="1593"/>
                    </a:cubicBezTo>
                    <a:cubicBezTo>
                      <a:pt x="1771" y="1593"/>
                      <a:pt x="1824" y="1645"/>
                      <a:pt x="1824" y="1710"/>
                    </a:cubicBezTo>
                    <a:cubicBezTo>
                      <a:pt x="1824" y="1775"/>
                      <a:pt x="1771" y="1828"/>
                      <a:pt x="1706" y="1828"/>
                    </a:cubicBezTo>
                    <a:close/>
                    <a:moveTo>
                      <a:pt x="1706" y="1637"/>
                    </a:moveTo>
                    <a:cubicBezTo>
                      <a:pt x="1665" y="1637"/>
                      <a:pt x="1632" y="1670"/>
                      <a:pt x="1632" y="1710"/>
                    </a:cubicBezTo>
                    <a:cubicBezTo>
                      <a:pt x="1632" y="1751"/>
                      <a:pt x="1665" y="1784"/>
                      <a:pt x="1706" y="1784"/>
                    </a:cubicBezTo>
                    <a:cubicBezTo>
                      <a:pt x="1747" y="1784"/>
                      <a:pt x="1780" y="1751"/>
                      <a:pt x="1780" y="1710"/>
                    </a:cubicBezTo>
                    <a:cubicBezTo>
                      <a:pt x="1780" y="1670"/>
                      <a:pt x="1747" y="1637"/>
                      <a:pt x="1706" y="163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36">
                <a:extLst>
                  <a:ext uri="{FF2B5EF4-FFF2-40B4-BE49-F238E27FC236}">
                    <a16:creationId xmlns:a16="http://schemas.microsoft.com/office/drawing/2014/main" id="{AA349004-0273-4E6A-89D9-22675CF652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66231" y="2983230"/>
                <a:ext cx="854583" cy="1092327"/>
              </a:xfrm>
              <a:custGeom>
                <a:avLst/>
                <a:gdLst>
                  <a:gd name="T0" fmla="*/ 511 w 1197"/>
                  <a:gd name="T1" fmla="*/ 220 h 1529"/>
                  <a:gd name="T2" fmla="*/ 473 w 1197"/>
                  <a:gd name="T3" fmla="*/ 132 h 1529"/>
                  <a:gd name="T4" fmla="*/ 388 w 1197"/>
                  <a:gd name="T5" fmla="*/ 18 h 1529"/>
                  <a:gd name="T6" fmla="*/ 259 w 1197"/>
                  <a:gd name="T7" fmla="*/ 31 h 1529"/>
                  <a:gd name="T8" fmla="*/ 168 w 1197"/>
                  <a:gd name="T9" fmla="*/ 17 h 1529"/>
                  <a:gd name="T10" fmla="*/ 117 w 1197"/>
                  <a:gd name="T11" fmla="*/ 94 h 1529"/>
                  <a:gd name="T12" fmla="*/ 19 w 1197"/>
                  <a:gd name="T13" fmla="*/ 179 h 1529"/>
                  <a:gd name="T14" fmla="*/ 42 w 1197"/>
                  <a:gd name="T15" fmla="*/ 320 h 1529"/>
                  <a:gd name="T16" fmla="*/ 80 w 1197"/>
                  <a:gd name="T17" fmla="*/ 409 h 1529"/>
                  <a:gd name="T18" fmla="*/ 160 w 1197"/>
                  <a:gd name="T19" fmla="*/ 524 h 1529"/>
                  <a:gd name="T20" fmla="*/ 298 w 1197"/>
                  <a:gd name="T21" fmla="*/ 513 h 1529"/>
                  <a:gd name="T22" fmla="*/ 386 w 1197"/>
                  <a:gd name="T23" fmla="*/ 528 h 1529"/>
                  <a:gd name="T24" fmla="*/ 436 w 1197"/>
                  <a:gd name="T25" fmla="*/ 453 h 1529"/>
                  <a:gd name="T26" fmla="*/ 538 w 1197"/>
                  <a:gd name="T27" fmla="*/ 359 h 1529"/>
                  <a:gd name="T28" fmla="*/ 325 w 1197"/>
                  <a:gd name="T29" fmla="*/ 384 h 1529"/>
                  <a:gd name="T30" fmla="*/ 229 w 1197"/>
                  <a:gd name="T31" fmla="*/ 161 h 1529"/>
                  <a:gd name="T32" fmla="*/ 325 w 1197"/>
                  <a:gd name="T33" fmla="*/ 384 h 1529"/>
                  <a:gd name="T34" fmla="*/ 1154 w 1197"/>
                  <a:gd name="T35" fmla="*/ 1204 h 1529"/>
                  <a:gd name="T36" fmla="*/ 1116 w 1197"/>
                  <a:gd name="T37" fmla="*/ 1116 h 1529"/>
                  <a:gd name="T38" fmla="*/ 1031 w 1197"/>
                  <a:gd name="T39" fmla="*/ 1003 h 1529"/>
                  <a:gd name="T40" fmla="*/ 902 w 1197"/>
                  <a:gd name="T41" fmla="*/ 1015 h 1529"/>
                  <a:gd name="T42" fmla="*/ 811 w 1197"/>
                  <a:gd name="T43" fmla="*/ 1001 h 1529"/>
                  <a:gd name="T44" fmla="*/ 760 w 1197"/>
                  <a:gd name="T45" fmla="*/ 1078 h 1529"/>
                  <a:gd name="T46" fmla="*/ 662 w 1197"/>
                  <a:gd name="T47" fmla="*/ 1164 h 1529"/>
                  <a:gd name="T48" fmla="*/ 685 w 1197"/>
                  <a:gd name="T49" fmla="*/ 1305 h 1529"/>
                  <a:gd name="T50" fmla="*/ 723 w 1197"/>
                  <a:gd name="T51" fmla="*/ 1393 h 1529"/>
                  <a:gd name="T52" fmla="*/ 803 w 1197"/>
                  <a:gd name="T53" fmla="*/ 1508 h 1529"/>
                  <a:gd name="T54" fmla="*/ 941 w 1197"/>
                  <a:gd name="T55" fmla="*/ 1498 h 1529"/>
                  <a:gd name="T56" fmla="*/ 1029 w 1197"/>
                  <a:gd name="T57" fmla="*/ 1512 h 1529"/>
                  <a:gd name="T58" fmla="*/ 1079 w 1197"/>
                  <a:gd name="T59" fmla="*/ 1438 h 1529"/>
                  <a:gd name="T60" fmla="*/ 1181 w 1197"/>
                  <a:gd name="T61" fmla="*/ 1343 h 1529"/>
                  <a:gd name="T62" fmla="*/ 968 w 1197"/>
                  <a:gd name="T63" fmla="*/ 1368 h 1529"/>
                  <a:gd name="T64" fmla="*/ 872 w 1197"/>
                  <a:gd name="T65" fmla="*/ 1145 h 1529"/>
                  <a:gd name="T66" fmla="*/ 968 w 1197"/>
                  <a:gd name="T67" fmla="*/ 1368 h 1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7" h="1529">
                    <a:moveTo>
                      <a:pt x="550" y="244"/>
                    </a:moveTo>
                    <a:cubicBezTo>
                      <a:pt x="511" y="220"/>
                      <a:pt x="511" y="220"/>
                      <a:pt x="511" y="220"/>
                    </a:cubicBezTo>
                    <a:cubicBezTo>
                      <a:pt x="508" y="205"/>
                      <a:pt x="503" y="191"/>
                      <a:pt x="497" y="176"/>
                    </a:cubicBezTo>
                    <a:cubicBezTo>
                      <a:pt x="491" y="161"/>
                      <a:pt x="482" y="146"/>
                      <a:pt x="473" y="132"/>
                    </a:cubicBezTo>
                    <a:cubicBezTo>
                      <a:pt x="482" y="87"/>
                      <a:pt x="482" y="87"/>
                      <a:pt x="482" y="87"/>
                    </a:cubicBezTo>
                    <a:cubicBezTo>
                      <a:pt x="456" y="58"/>
                      <a:pt x="423" y="34"/>
                      <a:pt x="388" y="18"/>
                    </a:cubicBezTo>
                    <a:cubicBezTo>
                      <a:pt x="348" y="41"/>
                      <a:pt x="348" y="41"/>
                      <a:pt x="348" y="41"/>
                    </a:cubicBezTo>
                    <a:cubicBezTo>
                      <a:pt x="319" y="32"/>
                      <a:pt x="289" y="29"/>
                      <a:pt x="259" y="31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06" y="4"/>
                      <a:pt x="187" y="9"/>
                      <a:pt x="168" y="17"/>
                    </a:cubicBezTo>
                    <a:cubicBezTo>
                      <a:pt x="150" y="25"/>
                      <a:pt x="132" y="35"/>
                      <a:pt x="117" y="46"/>
                    </a:cubicBezTo>
                    <a:cubicBezTo>
                      <a:pt x="117" y="94"/>
                      <a:pt x="117" y="94"/>
                      <a:pt x="117" y="94"/>
                    </a:cubicBezTo>
                    <a:cubicBezTo>
                      <a:pt x="94" y="115"/>
                      <a:pt x="75" y="138"/>
                      <a:pt x="62" y="165"/>
                    </a:cubicBezTo>
                    <a:cubicBezTo>
                      <a:pt x="19" y="179"/>
                      <a:pt x="19" y="179"/>
                      <a:pt x="19" y="179"/>
                    </a:cubicBezTo>
                    <a:cubicBezTo>
                      <a:pt x="5" y="216"/>
                      <a:pt x="0" y="256"/>
                      <a:pt x="3" y="297"/>
                    </a:cubicBezTo>
                    <a:cubicBezTo>
                      <a:pt x="42" y="320"/>
                      <a:pt x="42" y="320"/>
                      <a:pt x="42" y="320"/>
                    </a:cubicBezTo>
                    <a:cubicBezTo>
                      <a:pt x="45" y="336"/>
                      <a:pt x="50" y="352"/>
                      <a:pt x="58" y="368"/>
                    </a:cubicBezTo>
                    <a:cubicBezTo>
                      <a:pt x="64" y="382"/>
                      <a:pt x="71" y="396"/>
                      <a:pt x="80" y="409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95" y="484"/>
                      <a:pt x="126" y="507"/>
                      <a:pt x="160" y="524"/>
                    </a:cubicBezTo>
                    <a:cubicBezTo>
                      <a:pt x="199" y="501"/>
                      <a:pt x="199" y="501"/>
                      <a:pt x="199" y="501"/>
                    </a:cubicBezTo>
                    <a:cubicBezTo>
                      <a:pt x="231" y="512"/>
                      <a:pt x="264" y="516"/>
                      <a:pt x="298" y="513"/>
                    </a:cubicBezTo>
                    <a:cubicBezTo>
                      <a:pt x="333" y="545"/>
                      <a:pt x="333" y="545"/>
                      <a:pt x="333" y="545"/>
                    </a:cubicBezTo>
                    <a:cubicBezTo>
                      <a:pt x="350" y="540"/>
                      <a:pt x="368" y="535"/>
                      <a:pt x="386" y="528"/>
                    </a:cubicBezTo>
                    <a:cubicBezTo>
                      <a:pt x="403" y="520"/>
                      <a:pt x="420" y="510"/>
                      <a:pt x="436" y="499"/>
                    </a:cubicBezTo>
                    <a:cubicBezTo>
                      <a:pt x="436" y="453"/>
                      <a:pt x="436" y="453"/>
                      <a:pt x="436" y="453"/>
                    </a:cubicBezTo>
                    <a:cubicBezTo>
                      <a:pt x="461" y="430"/>
                      <a:pt x="481" y="402"/>
                      <a:pt x="495" y="372"/>
                    </a:cubicBezTo>
                    <a:cubicBezTo>
                      <a:pt x="538" y="359"/>
                      <a:pt x="538" y="359"/>
                      <a:pt x="538" y="359"/>
                    </a:cubicBezTo>
                    <a:cubicBezTo>
                      <a:pt x="550" y="322"/>
                      <a:pt x="554" y="283"/>
                      <a:pt x="550" y="244"/>
                    </a:cubicBezTo>
                    <a:close/>
                    <a:moveTo>
                      <a:pt x="325" y="384"/>
                    </a:moveTo>
                    <a:cubicBezTo>
                      <a:pt x="264" y="411"/>
                      <a:pt x="193" y="382"/>
                      <a:pt x="167" y="320"/>
                    </a:cubicBezTo>
                    <a:cubicBezTo>
                      <a:pt x="140" y="258"/>
                      <a:pt x="168" y="187"/>
                      <a:pt x="229" y="161"/>
                    </a:cubicBezTo>
                    <a:cubicBezTo>
                      <a:pt x="290" y="134"/>
                      <a:pt x="361" y="163"/>
                      <a:pt x="387" y="224"/>
                    </a:cubicBezTo>
                    <a:cubicBezTo>
                      <a:pt x="414" y="285"/>
                      <a:pt x="386" y="358"/>
                      <a:pt x="325" y="384"/>
                    </a:cubicBezTo>
                    <a:close/>
                    <a:moveTo>
                      <a:pt x="1193" y="1228"/>
                    </a:moveTo>
                    <a:cubicBezTo>
                      <a:pt x="1154" y="1204"/>
                      <a:pt x="1154" y="1204"/>
                      <a:pt x="1154" y="1204"/>
                    </a:cubicBezTo>
                    <a:cubicBezTo>
                      <a:pt x="1151" y="1190"/>
                      <a:pt x="1146" y="1175"/>
                      <a:pt x="1140" y="1160"/>
                    </a:cubicBezTo>
                    <a:cubicBezTo>
                      <a:pt x="1134" y="1145"/>
                      <a:pt x="1125" y="1130"/>
                      <a:pt x="1116" y="1116"/>
                    </a:cubicBezTo>
                    <a:cubicBezTo>
                      <a:pt x="1125" y="1072"/>
                      <a:pt x="1125" y="1072"/>
                      <a:pt x="1125" y="1072"/>
                    </a:cubicBezTo>
                    <a:cubicBezTo>
                      <a:pt x="1099" y="1042"/>
                      <a:pt x="1066" y="1018"/>
                      <a:pt x="1031" y="1003"/>
                    </a:cubicBezTo>
                    <a:cubicBezTo>
                      <a:pt x="991" y="1026"/>
                      <a:pt x="991" y="1026"/>
                      <a:pt x="991" y="1026"/>
                    </a:cubicBezTo>
                    <a:cubicBezTo>
                      <a:pt x="962" y="1016"/>
                      <a:pt x="932" y="1013"/>
                      <a:pt x="902" y="1015"/>
                    </a:cubicBezTo>
                    <a:cubicBezTo>
                      <a:pt x="868" y="984"/>
                      <a:pt x="868" y="984"/>
                      <a:pt x="868" y="984"/>
                    </a:cubicBezTo>
                    <a:cubicBezTo>
                      <a:pt x="849" y="988"/>
                      <a:pt x="830" y="993"/>
                      <a:pt x="811" y="1001"/>
                    </a:cubicBezTo>
                    <a:cubicBezTo>
                      <a:pt x="793" y="1010"/>
                      <a:pt x="775" y="1019"/>
                      <a:pt x="760" y="1031"/>
                    </a:cubicBezTo>
                    <a:cubicBezTo>
                      <a:pt x="760" y="1078"/>
                      <a:pt x="760" y="1078"/>
                      <a:pt x="760" y="1078"/>
                    </a:cubicBezTo>
                    <a:cubicBezTo>
                      <a:pt x="737" y="1099"/>
                      <a:pt x="718" y="1123"/>
                      <a:pt x="705" y="1150"/>
                    </a:cubicBezTo>
                    <a:cubicBezTo>
                      <a:pt x="662" y="1164"/>
                      <a:pt x="662" y="1164"/>
                      <a:pt x="662" y="1164"/>
                    </a:cubicBezTo>
                    <a:cubicBezTo>
                      <a:pt x="648" y="1201"/>
                      <a:pt x="643" y="1240"/>
                      <a:pt x="646" y="1282"/>
                    </a:cubicBezTo>
                    <a:cubicBezTo>
                      <a:pt x="685" y="1305"/>
                      <a:pt x="685" y="1305"/>
                      <a:pt x="685" y="1305"/>
                    </a:cubicBezTo>
                    <a:cubicBezTo>
                      <a:pt x="688" y="1320"/>
                      <a:pt x="693" y="1337"/>
                      <a:pt x="701" y="1352"/>
                    </a:cubicBezTo>
                    <a:cubicBezTo>
                      <a:pt x="707" y="1367"/>
                      <a:pt x="714" y="1381"/>
                      <a:pt x="723" y="1393"/>
                    </a:cubicBezTo>
                    <a:cubicBezTo>
                      <a:pt x="712" y="1438"/>
                      <a:pt x="712" y="1438"/>
                      <a:pt x="712" y="1438"/>
                    </a:cubicBezTo>
                    <a:cubicBezTo>
                      <a:pt x="738" y="1468"/>
                      <a:pt x="769" y="1491"/>
                      <a:pt x="803" y="1508"/>
                    </a:cubicBezTo>
                    <a:cubicBezTo>
                      <a:pt x="842" y="1485"/>
                      <a:pt x="842" y="1485"/>
                      <a:pt x="842" y="1485"/>
                    </a:cubicBezTo>
                    <a:cubicBezTo>
                      <a:pt x="874" y="1496"/>
                      <a:pt x="907" y="1500"/>
                      <a:pt x="941" y="1498"/>
                    </a:cubicBezTo>
                    <a:cubicBezTo>
                      <a:pt x="976" y="1529"/>
                      <a:pt x="976" y="1529"/>
                      <a:pt x="976" y="1529"/>
                    </a:cubicBezTo>
                    <a:cubicBezTo>
                      <a:pt x="993" y="1525"/>
                      <a:pt x="1011" y="1519"/>
                      <a:pt x="1029" y="1512"/>
                    </a:cubicBezTo>
                    <a:cubicBezTo>
                      <a:pt x="1046" y="1504"/>
                      <a:pt x="1063" y="1494"/>
                      <a:pt x="1079" y="1484"/>
                    </a:cubicBezTo>
                    <a:cubicBezTo>
                      <a:pt x="1079" y="1438"/>
                      <a:pt x="1079" y="1438"/>
                      <a:pt x="1079" y="1438"/>
                    </a:cubicBezTo>
                    <a:cubicBezTo>
                      <a:pt x="1104" y="1415"/>
                      <a:pt x="1124" y="1387"/>
                      <a:pt x="1138" y="1356"/>
                    </a:cubicBezTo>
                    <a:cubicBezTo>
                      <a:pt x="1181" y="1343"/>
                      <a:pt x="1181" y="1343"/>
                      <a:pt x="1181" y="1343"/>
                    </a:cubicBezTo>
                    <a:cubicBezTo>
                      <a:pt x="1193" y="1307"/>
                      <a:pt x="1197" y="1267"/>
                      <a:pt x="1193" y="1228"/>
                    </a:cubicBezTo>
                    <a:close/>
                    <a:moveTo>
                      <a:pt x="968" y="1368"/>
                    </a:moveTo>
                    <a:cubicBezTo>
                      <a:pt x="907" y="1395"/>
                      <a:pt x="836" y="1366"/>
                      <a:pt x="810" y="1305"/>
                    </a:cubicBezTo>
                    <a:cubicBezTo>
                      <a:pt x="783" y="1243"/>
                      <a:pt x="811" y="1171"/>
                      <a:pt x="872" y="1145"/>
                    </a:cubicBezTo>
                    <a:cubicBezTo>
                      <a:pt x="933" y="1118"/>
                      <a:pt x="1004" y="1147"/>
                      <a:pt x="1030" y="1208"/>
                    </a:cubicBezTo>
                    <a:cubicBezTo>
                      <a:pt x="1057" y="1270"/>
                      <a:pt x="1029" y="1342"/>
                      <a:pt x="968" y="136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97E0EA-2CBF-4CC4-A0AC-82518A053028}"/>
              </a:ext>
            </a:extLst>
          </p:cNvPr>
          <p:cNvGrpSpPr>
            <a:grpSpLocks noChangeAspect="1"/>
          </p:cNvGrpSpPr>
          <p:nvPr/>
        </p:nvGrpSpPr>
        <p:grpSpPr>
          <a:xfrm>
            <a:off x="4659898" y="2773626"/>
            <a:ext cx="511733" cy="511733"/>
            <a:chOff x="9630352" y="2608262"/>
            <a:chExt cx="1644650" cy="1644650"/>
          </a:xfrm>
        </p:grpSpPr>
        <p:sp>
          <p:nvSpPr>
            <p:cNvPr id="26" name="AutoShape 109">
              <a:extLst>
                <a:ext uri="{FF2B5EF4-FFF2-40B4-BE49-F238E27FC236}">
                  <a16:creationId xmlns:a16="http://schemas.microsoft.com/office/drawing/2014/main" id="{2851562E-F56A-4E9A-9D76-C4E8960FE4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630352" y="2608262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06E3880-7AD2-4BAE-BBBF-1779B0EA498E}"/>
                </a:ext>
              </a:extLst>
            </p:cNvPr>
            <p:cNvGrpSpPr/>
            <p:nvPr/>
          </p:nvGrpSpPr>
          <p:grpSpPr>
            <a:xfrm>
              <a:off x="9698027" y="2801060"/>
              <a:ext cx="1512608" cy="1259956"/>
              <a:chOff x="9698027" y="2801060"/>
              <a:chExt cx="1512608" cy="1259956"/>
            </a:xfrm>
          </p:grpSpPr>
          <p:sp>
            <p:nvSpPr>
              <p:cNvPr id="28" name="Freeform 111">
                <a:extLst>
                  <a:ext uri="{FF2B5EF4-FFF2-40B4-BE49-F238E27FC236}">
                    <a16:creationId xmlns:a16="http://schemas.microsoft.com/office/drawing/2014/main" id="{82BDA2A3-CFE9-4924-827F-16C2D187D2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60622" y="2967390"/>
                <a:ext cx="1050013" cy="1093626"/>
              </a:xfrm>
              <a:custGeom>
                <a:avLst/>
                <a:gdLst>
                  <a:gd name="T0" fmla="*/ 530 w 1471"/>
                  <a:gd name="T1" fmla="*/ 265 h 1532"/>
                  <a:gd name="T2" fmla="*/ 527 w 1471"/>
                  <a:gd name="T3" fmla="*/ 307 h 1532"/>
                  <a:gd name="T4" fmla="*/ 466 w 1471"/>
                  <a:gd name="T5" fmla="*/ 209 h 1532"/>
                  <a:gd name="T6" fmla="*/ 298 w 1471"/>
                  <a:gd name="T7" fmla="*/ 117 h 1532"/>
                  <a:gd name="T8" fmla="*/ 193 w 1471"/>
                  <a:gd name="T9" fmla="*/ 147 h 1532"/>
                  <a:gd name="T10" fmla="*/ 131 w 1471"/>
                  <a:gd name="T11" fmla="*/ 419 h 1532"/>
                  <a:gd name="T12" fmla="*/ 194 w 1471"/>
                  <a:gd name="T13" fmla="*/ 520 h 1532"/>
                  <a:gd name="T14" fmla="*/ 0 w 1471"/>
                  <a:gd name="T15" fmla="*/ 265 h 1532"/>
                  <a:gd name="T16" fmla="*/ 265 w 1471"/>
                  <a:gd name="T17" fmla="*/ 0 h 1532"/>
                  <a:gd name="T18" fmla="*/ 530 w 1471"/>
                  <a:gd name="T19" fmla="*/ 265 h 1532"/>
                  <a:gd name="T20" fmla="*/ 1466 w 1471"/>
                  <a:gd name="T21" fmla="*/ 1187 h 1532"/>
                  <a:gd name="T22" fmla="*/ 1311 w 1471"/>
                  <a:gd name="T23" fmla="*/ 940 h 1532"/>
                  <a:gd name="T24" fmla="*/ 1300 w 1471"/>
                  <a:gd name="T25" fmla="*/ 934 h 1532"/>
                  <a:gd name="T26" fmla="*/ 1293 w 1471"/>
                  <a:gd name="T27" fmla="*/ 932 h 1532"/>
                  <a:gd name="T28" fmla="*/ 1289 w 1471"/>
                  <a:gd name="T29" fmla="*/ 933 h 1532"/>
                  <a:gd name="T30" fmla="*/ 1276 w 1471"/>
                  <a:gd name="T31" fmla="*/ 936 h 1532"/>
                  <a:gd name="T32" fmla="*/ 790 w 1471"/>
                  <a:gd name="T33" fmla="*/ 1239 h 1532"/>
                  <a:gd name="T34" fmla="*/ 782 w 1471"/>
                  <a:gd name="T35" fmla="*/ 1250 h 1532"/>
                  <a:gd name="T36" fmla="*/ 779 w 1471"/>
                  <a:gd name="T37" fmla="*/ 1261 h 1532"/>
                  <a:gd name="T38" fmla="*/ 780 w 1471"/>
                  <a:gd name="T39" fmla="*/ 1273 h 1532"/>
                  <a:gd name="T40" fmla="*/ 784 w 1471"/>
                  <a:gd name="T41" fmla="*/ 1281 h 1532"/>
                  <a:gd name="T42" fmla="*/ 934 w 1471"/>
                  <a:gd name="T43" fmla="*/ 1520 h 1532"/>
                  <a:gd name="T44" fmla="*/ 961 w 1471"/>
                  <a:gd name="T45" fmla="*/ 1526 h 1532"/>
                  <a:gd name="T46" fmla="*/ 1459 w 1471"/>
                  <a:gd name="T47" fmla="*/ 1214 h 1532"/>
                  <a:gd name="T48" fmla="*/ 1466 w 1471"/>
                  <a:gd name="T49" fmla="*/ 1187 h 1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71" h="1532">
                    <a:moveTo>
                      <a:pt x="530" y="265"/>
                    </a:moveTo>
                    <a:cubicBezTo>
                      <a:pt x="530" y="279"/>
                      <a:pt x="529" y="293"/>
                      <a:pt x="527" y="307"/>
                    </a:cubicBezTo>
                    <a:cubicBezTo>
                      <a:pt x="466" y="209"/>
                      <a:pt x="466" y="209"/>
                      <a:pt x="466" y="209"/>
                    </a:cubicBezTo>
                    <a:cubicBezTo>
                      <a:pt x="429" y="151"/>
                      <a:pt x="367" y="117"/>
                      <a:pt x="298" y="117"/>
                    </a:cubicBezTo>
                    <a:cubicBezTo>
                      <a:pt x="261" y="117"/>
                      <a:pt x="225" y="127"/>
                      <a:pt x="193" y="147"/>
                    </a:cubicBezTo>
                    <a:cubicBezTo>
                      <a:pt x="101" y="205"/>
                      <a:pt x="73" y="327"/>
                      <a:pt x="131" y="419"/>
                    </a:cubicBezTo>
                    <a:cubicBezTo>
                      <a:pt x="194" y="520"/>
                      <a:pt x="194" y="520"/>
                      <a:pt x="194" y="520"/>
                    </a:cubicBezTo>
                    <a:cubicBezTo>
                      <a:pt x="82" y="489"/>
                      <a:pt x="0" y="387"/>
                      <a:pt x="0" y="265"/>
                    </a:cubicBezTo>
                    <a:cubicBezTo>
                      <a:pt x="0" y="119"/>
                      <a:pt x="119" y="0"/>
                      <a:pt x="265" y="0"/>
                    </a:cubicBezTo>
                    <a:cubicBezTo>
                      <a:pt x="411" y="0"/>
                      <a:pt x="530" y="119"/>
                      <a:pt x="530" y="265"/>
                    </a:cubicBezTo>
                    <a:close/>
                    <a:moveTo>
                      <a:pt x="1466" y="1187"/>
                    </a:moveTo>
                    <a:cubicBezTo>
                      <a:pt x="1311" y="940"/>
                      <a:pt x="1311" y="940"/>
                      <a:pt x="1311" y="940"/>
                    </a:cubicBezTo>
                    <a:cubicBezTo>
                      <a:pt x="1300" y="934"/>
                      <a:pt x="1300" y="934"/>
                      <a:pt x="1300" y="934"/>
                    </a:cubicBezTo>
                    <a:cubicBezTo>
                      <a:pt x="1298" y="933"/>
                      <a:pt x="1295" y="932"/>
                      <a:pt x="1293" y="932"/>
                    </a:cubicBezTo>
                    <a:cubicBezTo>
                      <a:pt x="1292" y="932"/>
                      <a:pt x="1290" y="933"/>
                      <a:pt x="1289" y="933"/>
                    </a:cubicBezTo>
                    <a:cubicBezTo>
                      <a:pt x="1276" y="936"/>
                      <a:pt x="1276" y="936"/>
                      <a:pt x="1276" y="936"/>
                    </a:cubicBezTo>
                    <a:cubicBezTo>
                      <a:pt x="790" y="1239"/>
                      <a:pt x="790" y="1239"/>
                      <a:pt x="790" y="1239"/>
                    </a:cubicBezTo>
                    <a:cubicBezTo>
                      <a:pt x="782" y="1250"/>
                      <a:pt x="782" y="1250"/>
                      <a:pt x="782" y="1250"/>
                    </a:cubicBezTo>
                    <a:cubicBezTo>
                      <a:pt x="780" y="1253"/>
                      <a:pt x="779" y="1257"/>
                      <a:pt x="779" y="1261"/>
                    </a:cubicBezTo>
                    <a:cubicBezTo>
                      <a:pt x="780" y="1273"/>
                      <a:pt x="780" y="1273"/>
                      <a:pt x="780" y="1273"/>
                    </a:cubicBezTo>
                    <a:cubicBezTo>
                      <a:pt x="784" y="1281"/>
                      <a:pt x="784" y="1281"/>
                      <a:pt x="784" y="1281"/>
                    </a:cubicBezTo>
                    <a:cubicBezTo>
                      <a:pt x="934" y="1520"/>
                      <a:pt x="934" y="1520"/>
                      <a:pt x="934" y="1520"/>
                    </a:cubicBezTo>
                    <a:cubicBezTo>
                      <a:pt x="940" y="1529"/>
                      <a:pt x="952" y="1532"/>
                      <a:pt x="961" y="1526"/>
                    </a:cubicBezTo>
                    <a:cubicBezTo>
                      <a:pt x="1459" y="1214"/>
                      <a:pt x="1459" y="1214"/>
                      <a:pt x="1459" y="1214"/>
                    </a:cubicBezTo>
                    <a:cubicBezTo>
                      <a:pt x="1469" y="1209"/>
                      <a:pt x="1471" y="1196"/>
                      <a:pt x="1466" y="118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12">
                <a:extLst>
                  <a:ext uri="{FF2B5EF4-FFF2-40B4-BE49-F238E27FC236}">
                    <a16:creationId xmlns:a16="http://schemas.microsoft.com/office/drawing/2014/main" id="{22072B9B-4DD7-44B5-8DC5-AA014901D1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98027" y="2801060"/>
                <a:ext cx="1411247" cy="1067759"/>
              </a:xfrm>
              <a:custGeom>
                <a:avLst/>
                <a:gdLst>
                  <a:gd name="T0" fmla="*/ 22 w 1977"/>
                  <a:gd name="T1" fmla="*/ 1200 h 1496"/>
                  <a:gd name="T2" fmla="*/ 0 w 1977"/>
                  <a:gd name="T3" fmla="*/ 22 h 1496"/>
                  <a:gd name="T4" fmla="*/ 1657 w 1977"/>
                  <a:gd name="T5" fmla="*/ 0 h 1496"/>
                  <a:gd name="T6" fmla="*/ 1679 w 1977"/>
                  <a:gd name="T7" fmla="*/ 515 h 1496"/>
                  <a:gd name="T8" fmla="*/ 1635 w 1977"/>
                  <a:gd name="T9" fmla="*/ 513 h 1496"/>
                  <a:gd name="T10" fmla="*/ 44 w 1977"/>
                  <a:gd name="T11" fmla="*/ 44 h 1496"/>
                  <a:gd name="T12" fmla="*/ 870 w 1977"/>
                  <a:gd name="T13" fmla="*/ 1156 h 1496"/>
                  <a:gd name="T14" fmla="*/ 1912 w 1977"/>
                  <a:gd name="T15" fmla="*/ 871 h 1496"/>
                  <a:gd name="T16" fmla="*/ 1679 w 1977"/>
                  <a:gd name="T17" fmla="*/ 560 h 1496"/>
                  <a:gd name="T18" fmla="*/ 1585 w 1977"/>
                  <a:gd name="T19" fmla="*/ 575 h 1496"/>
                  <a:gd name="T20" fmla="*/ 1415 w 1977"/>
                  <a:gd name="T21" fmla="*/ 622 h 1496"/>
                  <a:gd name="T22" fmla="*/ 1236 w 1977"/>
                  <a:gd name="T23" fmla="*/ 672 h 1496"/>
                  <a:gd name="T24" fmla="*/ 1162 w 1977"/>
                  <a:gd name="T25" fmla="*/ 686 h 1496"/>
                  <a:gd name="T26" fmla="*/ 1135 w 1977"/>
                  <a:gd name="T27" fmla="*/ 643 h 1496"/>
                  <a:gd name="T28" fmla="*/ 888 w 1977"/>
                  <a:gd name="T29" fmla="*/ 454 h 1496"/>
                  <a:gd name="T30" fmla="*/ 950 w 1977"/>
                  <a:gd name="T31" fmla="*/ 760 h 1496"/>
                  <a:gd name="T32" fmla="*/ 988 w 1977"/>
                  <a:gd name="T33" fmla="*/ 821 h 1496"/>
                  <a:gd name="T34" fmla="*/ 1063 w 1977"/>
                  <a:gd name="T35" fmla="*/ 1067 h 1496"/>
                  <a:gd name="T36" fmla="*/ 914 w 1977"/>
                  <a:gd name="T37" fmla="*/ 1156 h 1496"/>
                  <a:gd name="T38" fmla="*/ 968 w 1977"/>
                  <a:gd name="T39" fmla="*/ 1261 h 1496"/>
                  <a:gd name="T40" fmla="*/ 1395 w 1977"/>
                  <a:gd name="T41" fmla="*/ 1457 h 1496"/>
                  <a:gd name="T42" fmla="*/ 962 w 1977"/>
                  <a:gd name="T43" fmla="*/ 1200 h 1496"/>
                  <a:gd name="T44" fmla="*/ 961 w 1977"/>
                  <a:gd name="T45" fmla="*/ 1136 h 1496"/>
                  <a:gd name="T46" fmla="*/ 1170 w 1977"/>
                  <a:gd name="T47" fmla="*/ 1156 h 1496"/>
                  <a:gd name="T48" fmla="*/ 1236 w 1977"/>
                  <a:gd name="T49" fmla="*/ 1168 h 1496"/>
                  <a:gd name="T50" fmla="*/ 1238 w 1977"/>
                  <a:gd name="T51" fmla="*/ 1145 h 1496"/>
                  <a:gd name="T52" fmla="*/ 997 w 1977"/>
                  <a:gd name="T53" fmla="*/ 759 h 1496"/>
                  <a:gd name="T54" fmla="*/ 887 w 1977"/>
                  <a:gd name="T55" fmla="*/ 584 h 1496"/>
                  <a:gd name="T56" fmla="*/ 1005 w 1977"/>
                  <a:gd name="T57" fmla="*/ 510 h 1496"/>
                  <a:gd name="T58" fmla="*/ 1109 w 1977"/>
                  <a:gd name="T59" fmla="*/ 677 h 1496"/>
                  <a:gd name="T60" fmla="*/ 1201 w 1977"/>
                  <a:gd name="T61" fmla="*/ 823 h 1496"/>
                  <a:gd name="T62" fmla="*/ 1261 w 1977"/>
                  <a:gd name="T63" fmla="*/ 919 h 1496"/>
                  <a:gd name="T64" fmla="*/ 1295 w 1977"/>
                  <a:gd name="T65" fmla="*/ 898 h 1496"/>
                  <a:gd name="T66" fmla="*/ 1235 w 1977"/>
                  <a:gd name="T67" fmla="*/ 802 h 1496"/>
                  <a:gd name="T68" fmla="*/ 1353 w 1977"/>
                  <a:gd name="T69" fmla="*/ 728 h 1496"/>
                  <a:gd name="T70" fmla="*/ 1421 w 1977"/>
                  <a:gd name="T71" fmla="*/ 838 h 1496"/>
                  <a:gd name="T72" fmla="*/ 1455 w 1977"/>
                  <a:gd name="T73" fmla="*/ 817 h 1496"/>
                  <a:gd name="T74" fmla="*/ 1437 w 1977"/>
                  <a:gd name="T75" fmla="*/ 656 h 1496"/>
                  <a:gd name="T76" fmla="*/ 1554 w 1977"/>
                  <a:gd name="T77" fmla="*/ 712 h 1496"/>
                  <a:gd name="T78" fmla="*/ 1613 w 1977"/>
                  <a:gd name="T79" fmla="*/ 770 h 1496"/>
                  <a:gd name="T80" fmla="*/ 1588 w 1977"/>
                  <a:gd name="T81" fmla="*/ 690 h 1496"/>
                  <a:gd name="T82" fmla="*/ 1635 w 1977"/>
                  <a:gd name="T83" fmla="*/ 598 h 1496"/>
                  <a:gd name="T84" fmla="*/ 1716 w 1977"/>
                  <a:gd name="T85" fmla="*/ 634 h 1496"/>
                  <a:gd name="T86" fmla="*/ 1928 w 1977"/>
                  <a:gd name="T87" fmla="*/ 1123 h 1496"/>
                  <a:gd name="T88" fmla="*/ 1912 w 1977"/>
                  <a:gd name="T89" fmla="*/ 871 h 1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977" h="1496">
                    <a:moveTo>
                      <a:pt x="873" y="1200"/>
                    </a:moveTo>
                    <a:cubicBezTo>
                      <a:pt x="22" y="1200"/>
                      <a:pt x="22" y="1200"/>
                      <a:pt x="22" y="1200"/>
                    </a:cubicBezTo>
                    <a:cubicBezTo>
                      <a:pt x="10" y="1200"/>
                      <a:pt x="0" y="1190"/>
                      <a:pt x="0" y="117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657" y="0"/>
                      <a:pt x="1657" y="0"/>
                      <a:pt x="1657" y="0"/>
                    </a:cubicBezTo>
                    <a:cubicBezTo>
                      <a:pt x="1669" y="0"/>
                      <a:pt x="1679" y="10"/>
                      <a:pt x="1679" y="22"/>
                    </a:cubicBezTo>
                    <a:cubicBezTo>
                      <a:pt x="1679" y="515"/>
                      <a:pt x="1679" y="515"/>
                      <a:pt x="1679" y="515"/>
                    </a:cubicBezTo>
                    <a:cubicBezTo>
                      <a:pt x="1669" y="513"/>
                      <a:pt x="1659" y="512"/>
                      <a:pt x="1648" y="512"/>
                    </a:cubicBezTo>
                    <a:cubicBezTo>
                      <a:pt x="1644" y="512"/>
                      <a:pt x="1639" y="513"/>
                      <a:pt x="1635" y="513"/>
                    </a:cubicBezTo>
                    <a:cubicBezTo>
                      <a:pt x="1635" y="44"/>
                      <a:pt x="1635" y="44"/>
                      <a:pt x="1635" y="44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44" y="1156"/>
                      <a:pt x="44" y="1156"/>
                      <a:pt x="44" y="1156"/>
                    </a:cubicBezTo>
                    <a:cubicBezTo>
                      <a:pt x="870" y="1156"/>
                      <a:pt x="870" y="1156"/>
                      <a:pt x="870" y="1156"/>
                    </a:cubicBezTo>
                    <a:cubicBezTo>
                      <a:pt x="869" y="1171"/>
                      <a:pt x="870" y="1185"/>
                      <a:pt x="873" y="1200"/>
                    </a:cubicBezTo>
                    <a:close/>
                    <a:moveTo>
                      <a:pt x="1912" y="871"/>
                    </a:moveTo>
                    <a:cubicBezTo>
                      <a:pt x="1750" y="613"/>
                      <a:pt x="1750" y="613"/>
                      <a:pt x="1750" y="613"/>
                    </a:cubicBezTo>
                    <a:cubicBezTo>
                      <a:pt x="1733" y="586"/>
                      <a:pt x="1707" y="568"/>
                      <a:pt x="1679" y="560"/>
                    </a:cubicBezTo>
                    <a:cubicBezTo>
                      <a:pt x="1664" y="557"/>
                      <a:pt x="1649" y="555"/>
                      <a:pt x="1635" y="557"/>
                    </a:cubicBezTo>
                    <a:cubicBezTo>
                      <a:pt x="1618" y="559"/>
                      <a:pt x="1601" y="565"/>
                      <a:pt x="1585" y="575"/>
                    </a:cubicBezTo>
                    <a:cubicBezTo>
                      <a:pt x="1564" y="588"/>
                      <a:pt x="1550" y="608"/>
                      <a:pt x="1543" y="630"/>
                    </a:cubicBezTo>
                    <a:cubicBezTo>
                      <a:pt x="1507" y="601"/>
                      <a:pt x="1456" y="596"/>
                      <a:pt x="1415" y="622"/>
                    </a:cubicBezTo>
                    <a:cubicBezTo>
                      <a:pt x="1392" y="637"/>
                      <a:pt x="1375" y="660"/>
                      <a:pt x="1368" y="685"/>
                    </a:cubicBezTo>
                    <a:cubicBezTo>
                      <a:pt x="1333" y="652"/>
                      <a:pt x="1278" y="645"/>
                      <a:pt x="1236" y="672"/>
                    </a:cubicBezTo>
                    <a:cubicBezTo>
                      <a:pt x="1213" y="686"/>
                      <a:pt x="1198" y="707"/>
                      <a:pt x="1190" y="730"/>
                    </a:cubicBezTo>
                    <a:cubicBezTo>
                      <a:pt x="1162" y="686"/>
                      <a:pt x="1162" y="686"/>
                      <a:pt x="1162" y="686"/>
                    </a:cubicBezTo>
                    <a:cubicBezTo>
                      <a:pt x="1139" y="649"/>
                      <a:pt x="1139" y="649"/>
                      <a:pt x="1139" y="649"/>
                    </a:cubicBezTo>
                    <a:cubicBezTo>
                      <a:pt x="1135" y="643"/>
                      <a:pt x="1135" y="643"/>
                      <a:pt x="1135" y="643"/>
                    </a:cubicBezTo>
                    <a:cubicBezTo>
                      <a:pt x="1039" y="489"/>
                      <a:pt x="1039" y="489"/>
                      <a:pt x="1039" y="489"/>
                    </a:cubicBezTo>
                    <a:cubicBezTo>
                      <a:pt x="1007" y="438"/>
                      <a:pt x="939" y="422"/>
                      <a:pt x="888" y="454"/>
                    </a:cubicBezTo>
                    <a:cubicBezTo>
                      <a:pt x="837" y="486"/>
                      <a:pt x="821" y="554"/>
                      <a:pt x="853" y="605"/>
                    </a:cubicBezTo>
                    <a:cubicBezTo>
                      <a:pt x="950" y="760"/>
                      <a:pt x="950" y="760"/>
                      <a:pt x="950" y="760"/>
                    </a:cubicBezTo>
                    <a:cubicBezTo>
                      <a:pt x="965" y="784"/>
                      <a:pt x="965" y="784"/>
                      <a:pt x="965" y="784"/>
                    </a:cubicBezTo>
                    <a:cubicBezTo>
                      <a:pt x="988" y="821"/>
                      <a:pt x="988" y="821"/>
                      <a:pt x="988" y="821"/>
                    </a:cubicBezTo>
                    <a:cubicBezTo>
                      <a:pt x="1170" y="1112"/>
                      <a:pt x="1170" y="1112"/>
                      <a:pt x="1170" y="1112"/>
                    </a:cubicBezTo>
                    <a:cubicBezTo>
                      <a:pt x="1063" y="1067"/>
                      <a:pt x="1063" y="1067"/>
                      <a:pt x="1063" y="1067"/>
                    </a:cubicBezTo>
                    <a:cubicBezTo>
                      <a:pt x="1011" y="1045"/>
                      <a:pt x="950" y="1067"/>
                      <a:pt x="925" y="1118"/>
                    </a:cubicBezTo>
                    <a:cubicBezTo>
                      <a:pt x="919" y="1130"/>
                      <a:pt x="915" y="1143"/>
                      <a:pt x="914" y="1156"/>
                    </a:cubicBezTo>
                    <a:cubicBezTo>
                      <a:pt x="912" y="1171"/>
                      <a:pt x="914" y="1186"/>
                      <a:pt x="918" y="1200"/>
                    </a:cubicBezTo>
                    <a:cubicBezTo>
                      <a:pt x="926" y="1225"/>
                      <a:pt x="943" y="1247"/>
                      <a:pt x="968" y="1261"/>
                    </a:cubicBezTo>
                    <a:cubicBezTo>
                      <a:pt x="1383" y="1496"/>
                      <a:pt x="1383" y="1496"/>
                      <a:pt x="1383" y="1496"/>
                    </a:cubicBezTo>
                    <a:cubicBezTo>
                      <a:pt x="1382" y="1482"/>
                      <a:pt x="1387" y="1468"/>
                      <a:pt x="1395" y="1457"/>
                    </a:cubicBezTo>
                    <a:cubicBezTo>
                      <a:pt x="988" y="1226"/>
                      <a:pt x="988" y="1226"/>
                      <a:pt x="988" y="1226"/>
                    </a:cubicBezTo>
                    <a:cubicBezTo>
                      <a:pt x="977" y="1219"/>
                      <a:pt x="968" y="1210"/>
                      <a:pt x="962" y="1200"/>
                    </a:cubicBezTo>
                    <a:cubicBezTo>
                      <a:pt x="955" y="1186"/>
                      <a:pt x="952" y="1171"/>
                      <a:pt x="954" y="1156"/>
                    </a:cubicBezTo>
                    <a:cubicBezTo>
                      <a:pt x="955" y="1149"/>
                      <a:pt x="957" y="1143"/>
                      <a:pt x="961" y="1136"/>
                    </a:cubicBezTo>
                    <a:cubicBezTo>
                      <a:pt x="977" y="1104"/>
                      <a:pt x="1015" y="1090"/>
                      <a:pt x="1048" y="1104"/>
                    </a:cubicBezTo>
                    <a:cubicBezTo>
                      <a:pt x="1170" y="1156"/>
                      <a:pt x="1170" y="1156"/>
                      <a:pt x="1170" y="1156"/>
                    </a:cubicBezTo>
                    <a:cubicBezTo>
                      <a:pt x="1213" y="1174"/>
                      <a:pt x="1213" y="1174"/>
                      <a:pt x="1213" y="1174"/>
                    </a:cubicBezTo>
                    <a:cubicBezTo>
                      <a:pt x="1221" y="1177"/>
                      <a:pt x="1231" y="1175"/>
                      <a:pt x="1236" y="1168"/>
                    </a:cubicBezTo>
                    <a:cubicBezTo>
                      <a:pt x="1239" y="1165"/>
                      <a:pt x="1241" y="1160"/>
                      <a:pt x="1241" y="1156"/>
                    </a:cubicBezTo>
                    <a:cubicBezTo>
                      <a:pt x="1241" y="1152"/>
                      <a:pt x="1240" y="1148"/>
                      <a:pt x="1238" y="1145"/>
                    </a:cubicBezTo>
                    <a:cubicBezTo>
                      <a:pt x="1020" y="797"/>
                      <a:pt x="1020" y="797"/>
                      <a:pt x="1020" y="797"/>
                    </a:cubicBezTo>
                    <a:cubicBezTo>
                      <a:pt x="997" y="759"/>
                      <a:pt x="997" y="759"/>
                      <a:pt x="997" y="759"/>
                    </a:cubicBezTo>
                    <a:cubicBezTo>
                      <a:pt x="992" y="751"/>
                      <a:pt x="992" y="751"/>
                      <a:pt x="992" y="751"/>
                    </a:cubicBezTo>
                    <a:cubicBezTo>
                      <a:pt x="887" y="584"/>
                      <a:pt x="887" y="584"/>
                      <a:pt x="887" y="584"/>
                    </a:cubicBezTo>
                    <a:cubicBezTo>
                      <a:pt x="867" y="552"/>
                      <a:pt x="877" y="509"/>
                      <a:pt x="909" y="488"/>
                    </a:cubicBezTo>
                    <a:cubicBezTo>
                      <a:pt x="942" y="468"/>
                      <a:pt x="985" y="478"/>
                      <a:pt x="1005" y="510"/>
                    </a:cubicBezTo>
                    <a:cubicBezTo>
                      <a:pt x="1107" y="673"/>
                      <a:pt x="1107" y="673"/>
                      <a:pt x="1107" y="673"/>
                    </a:cubicBezTo>
                    <a:cubicBezTo>
                      <a:pt x="1109" y="677"/>
                      <a:pt x="1109" y="677"/>
                      <a:pt x="1109" y="677"/>
                    </a:cubicBezTo>
                    <a:cubicBezTo>
                      <a:pt x="1130" y="711"/>
                      <a:pt x="1130" y="711"/>
                      <a:pt x="1130" y="711"/>
                    </a:cubicBezTo>
                    <a:cubicBezTo>
                      <a:pt x="1201" y="823"/>
                      <a:pt x="1201" y="823"/>
                      <a:pt x="1201" y="823"/>
                    </a:cubicBezTo>
                    <a:cubicBezTo>
                      <a:pt x="1250" y="902"/>
                      <a:pt x="1250" y="902"/>
                      <a:pt x="1250" y="902"/>
                    </a:cubicBezTo>
                    <a:cubicBezTo>
                      <a:pt x="1261" y="919"/>
                      <a:pt x="1261" y="919"/>
                      <a:pt x="1261" y="919"/>
                    </a:cubicBezTo>
                    <a:cubicBezTo>
                      <a:pt x="1267" y="928"/>
                      <a:pt x="1279" y="931"/>
                      <a:pt x="1288" y="925"/>
                    </a:cubicBezTo>
                    <a:cubicBezTo>
                      <a:pt x="1298" y="920"/>
                      <a:pt x="1301" y="907"/>
                      <a:pt x="1295" y="898"/>
                    </a:cubicBezTo>
                    <a:cubicBezTo>
                      <a:pt x="1284" y="880"/>
                      <a:pt x="1284" y="880"/>
                      <a:pt x="1284" y="880"/>
                    </a:cubicBezTo>
                    <a:cubicBezTo>
                      <a:pt x="1235" y="802"/>
                      <a:pt x="1235" y="802"/>
                      <a:pt x="1235" y="802"/>
                    </a:cubicBezTo>
                    <a:cubicBezTo>
                      <a:pt x="1215" y="769"/>
                      <a:pt x="1224" y="727"/>
                      <a:pt x="1257" y="706"/>
                    </a:cubicBezTo>
                    <a:cubicBezTo>
                      <a:pt x="1289" y="686"/>
                      <a:pt x="1332" y="696"/>
                      <a:pt x="1353" y="728"/>
                    </a:cubicBezTo>
                    <a:cubicBezTo>
                      <a:pt x="1381" y="773"/>
                      <a:pt x="1381" y="773"/>
                      <a:pt x="1381" y="773"/>
                    </a:cubicBezTo>
                    <a:cubicBezTo>
                      <a:pt x="1421" y="838"/>
                      <a:pt x="1421" y="838"/>
                      <a:pt x="1421" y="838"/>
                    </a:cubicBezTo>
                    <a:cubicBezTo>
                      <a:pt x="1427" y="847"/>
                      <a:pt x="1440" y="850"/>
                      <a:pt x="1449" y="844"/>
                    </a:cubicBezTo>
                    <a:cubicBezTo>
                      <a:pt x="1458" y="838"/>
                      <a:pt x="1461" y="826"/>
                      <a:pt x="1455" y="817"/>
                    </a:cubicBezTo>
                    <a:cubicBezTo>
                      <a:pt x="1415" y="752"/>
                      <a:pt x="1415" y="752"/>
                      <a:pt x="1415" y="752"/>
                    </a:cubicBezTo>
                    <a:cubicBezTo>
                      <a:pt x="1394" y="719"/>
                      <a:pt x="1404" y="676"/>
                      <a:pt x="1437" y="656"/>
                    </a:cubicBezTo>
                    <a:cubicBezTo>
                      <a:pt x="1469" y="636"/>
                      <a:pt x="1512" y="646"/>
                      <a:pt x="1532" y="678"/>
                    </a:cubicBezTo>
                    <a:cubicBezTo>
                      <a:pt x="1554" y="712"/>
                      <a:pt x="1554" y="712"/>
                      <a:pt x="1554" y="712"/>
                    </a:cubicBezTo>
                    <a:cubicBezTo>
                      <a:pt x="1586" y="763"/>
                      <a:pt x="1586" y="763"/>
                      <a:pt x="1586" y="763"/>
                    </a:cubicBezTo>
                    <a:cubicBezTo>
                      <a:pt x="1592" y="773"/>
                      <a:pt x="1604" y="775"/>
                      <a:pt x="1613" y="770"/>
                    </a:cubicBezTo>
                    <a:cubicBezTo>
                      <a:pt x="1623" y="764"/>
                      <a:pt x="1626" y="751"/>
                      <a:pt x="1620" y="742"/>
                    </a:cubicBezTo>
                    <a:cubicBezTo>
                      <a:pt x="1588" y="690"/>
                      <a:pt x="1588" y="690"/>
                      <a:pt x="1588" y="690"/>
                    </a:cubicBezTo>
                    <a:cubicBezTo>
                      <a:pt x="1570" y="663"/>
                      <a:pt x="1579" y="626"/>
                      <a:pt x="1606" y="609"/>
                    </a:cubicBezTo>
                    <a:cubicBezTo>
                      <a:pt x="1615" y="603"/>
                      <a:pt x="1625" y="600"/>
                      <a:pt x="1635" y="598"/>
                    </a:cubicBezTo>
                    <a:cubicBezTo>
                      <a:pt x="1649" y="595"/>
                      <a:pt x="1665" y="597"/>
                      <a:pt x="1679" y="603"/>
                    </a:cubicBezTo>
                    <a:cubicBezTo>
                      <a:pt x="1694" y="609"/>
                      <a:pt x="1707" y="619"/>
                      <a:pt x="1716" y="634"/>
                    </a:cubicBezTo>
                    <a:cubicBezTo>
                      <a:pt x="1878" y="892"/>
                      <a:pt x="1878" y="892"/>
                      <a:pt x="1878" y="892"/>
                    </a:cubicBezTo>
                    <a:cubicBezTo>
                      <a:pt x="1894" y="918"/>
                      <a:pt x="1940" y="992"/>
                      <a:pt x="1928" y="1123"/>
                    </a:cubicBezTo>
                    <a:cubicBezTo>
                      <a:pt x="1942" y="1120"/>
                      <a:pt x="1956" y="1122"/>
                      <a:pt x="1968" y="1128"/>
                    </a:cubicBezTo>
                    <a:cubicBezTo>
                      <a:pt x="1977" y="1031"/>
                      <a:pt x="1959" y="946"/>
                      <a:pt x="1912" y="87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310BCC9-7B52-4217-BAFD-C9692D0E7099}"/>
              </a:ext>
            </a:extLst>
          </p:cNvPr>
          <p:cNvGrpSpPr/>
          <p:nvPr/>
        </p:nvGrpSpPr>
        <p:grpSpPr>
          <a:xfrm rot="5400000">
            <a:off x="8093039" y="2081213"/>
            <a:ext cx="306171" cy="4079081"/>
            <a:chOff x="5942914" y="2081213"/>
            <a:chExt cx="306171" cy="4079081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82D87665-ED68-448F-AC70-9011323E56FB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B87FF463-D3E6-41D1-AE3F-F6C55CD58AFF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37" name="Freeform 94">
                <a:extLst>
                  <a:ext uri="{FF2B5EF4-FFF2-40B4-BE49-F238E27FC236}">
                    <a16:creationId xmlns:a16="http://schemas.microsoft.com/office/drawing/2014/main" id="{B0E23499-27B0-4D57-B5BD-E20CCD30E7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95">
                <a:extLst>
                  <a:ext uri="{FF2B5EF4-FFF2-40B4-BE49-F238E27FC236}">
                    <a16:creationId xmlns:a16="http://schemas.microsoft.com/office/drawing/2014/main" id="{D019DEDB-ADFE-4067-9E50-4862FE4002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25F9ACC-37F7-42DB-A689-1E77B478AFCF}"/>
              </a:ext>
            </a:extLst>
          </p:cNvPr>
          <p:cNvGrpSpPr/>
          <p:nvPr/>
        </p:nvGrpSpPr>
        <p:grpSpPr>
          <a:xfrm>
            <a:off x="167443" y="82982"/>
            <a:ext cx="2764841" cy="240868"/>
            <a:chOff x="449139" y="82982"/>
            <a:chExt cx="2764841" cy="240868"/>
          </a:xfrm>
        </p:grpSpPr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9864765F-B727-4999-9D36-2956478C24C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9139" y="82982"/>
              <a:ext cx="240868" cy="2408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65C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3642CFE-13C3-48E4-8C55-A377ACBA4E49}"/>
                </a:ext>
              </a:extLst>
            </p:cNvPr>
            <p:cNvSpPr/>
            <p:nvPr/>
          </p:nvSpPr>
          <p:spPr>
            <a:xfrm>
              <a:off x="785813" y="101022"/>
              <a:ext cx="2428167" cy="20478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arn about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GSE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nternational</a:t>
              </a:r>
            </a:p>
          </p:txBody>
        </p:sp>
      </p:grpSp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616FF1B1-D273-4854-9234-F43D14313A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53" imgH="363" progId="TCLayout.ActiveDocument.1">
                  <p:embed/>
                </p:oleObj>
              </mc:Choice>
              <mc:Fallback>
                <p:oleObj name="think-cell Slide" r:id="rId10" imgW="353" imgH="363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616FF1B1-D273-4854-9234-F43D14313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1EE9188-AB52-44FC-9365-3B824BD3262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53" imgH="363" progId="TCLayout.ActiveDocument.1">
                  <p:embed/>
                </p:oleObj>
              </mc:Choice>
              <mc:Fallback>
                <p:oleObj name="think-cell Slide" r:id="rId12" imgW="353" imgH="363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1EE9188-AB52-44FC-9365-3B824BD32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82563493-4CEA-44BB-92DA-1983FB21EA8C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53" imgH="363" progId="TCLayout.ActiveDocument.1">
                  <p:embed/>
                </p:oleObj>
              </mc:Choice>
              <mc:Fallback>
                <p:oleObj name="think-cell Slide" r:id="rId13" imgW="353" imgH="363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82563493-4CEA-44BB-92DA-1983FB21E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064378A9-1664-4790-AF97-74A0B27BDAAB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3988" y="1539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63" progId="TCLayout.ActiveDocument.1">
                  <p:embed/>
                </p:oleObj>
              </mc:Choice>
              <mc:Fallback>
                <p:oleObj name="think-cell Slide" r:id="rId14" imgW="353" imgH="363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064378A9-1664-4790-AF97-74A0B27BD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3988" y="1539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6871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llout: Right Arrow 9">
            <a:extLst>
              <a:ext uri="{FF2B5EF4-FFF2-40B4-BE49-F238E27FC236}">
                <a16:creationId xmlns:a16="http://schemas.microsoft.com/office/drawing/2014/main" id="{B04AE8FB-2E35-7EC4-9892-7EE4ED9AEED4}"/>
              </a:ext>
            </a:extLst>
          </p:cNvPr>
          <p:cNvSpPr/>
          <p:nvPr/>
        </p:nvSpPr>
        <p:spPr>
          <a:xfrm>
            <a:off x="1085850" y="1981199"/>
            <a:ext cx="6334125" cy="2419350"/>
          </a:xfrm>
          <a:prstGeom prst="rightArrowCallou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ource_product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7" y="3595686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 source produc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BF5276-0230-4C3D-EF95-7F55E66E7288}"/>
              </a:ext>
            </a:extLst>
          </p:cNvPr>
          <p:cNvSpPr/>
          <p:nvPr/>
        </p:nvSpPr>
        <p:spPr>
          <a:xfrm>
            <a:off x="1257300" y="156845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pt_species_alloc_aligned_sls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DM source produc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0350D1-B8E4-B77D-4494-2F2A73A80A2C}"/>
              </a:ext>
            </a:extLst>
          </p:cNvPr>
          <p:cNvSpPr/>
          <p:nvPr/>
        </p:nvSpPr>
        <p:spPr>
          <a:xfrm>
            <a:off x="1257299" y="2943225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DE source product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F46495E9-9A8A-7B46-76C1-94A2D845C3B5}"/>
              </a:ext>
            </a:extLst>
          </p:cNvPr>
          <p:cNvSpPr/>
          <p:nvPr/>
        </p:nvSpPr>
        <p:spPr>
          <a:xfrm>
            <a:off x="2883690" y="1900237"/>
            <a:ext cx="319090" cy="33178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7419975" y="3024981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source_produ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65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source_product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2003939"/>
            <a:ext cx="60960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MDE: Count 75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For </a:t>
            </a:r>
            <a:r>
              <a:rPr lang="en-US" b="0" i="0" dirty="0">
                <a:effectLst/>
                <a:latin typeface="-apple-system"/>
              </a:rPr>
              <a:t>4701 records from RD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  <a:latin typeface="-apple-system"/>
              </a:rPr>
              <a:t>25% not matched records because lock of sap info</a:t>
            </a:r>
            <a:endParaRPr lang="en-US" b="0" i="0" dirty="0">
              <a:solidFill>
                <a:srgbClr val="FF0000"/>
              </a:solidFill>
              <a:effectLst/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24</a:t>
            </a:r>
          </a:p>
          <a:p>
            <a:r>
              <a:rPr lang="en-US" dirty="0"/>
              <a:t>Must have Attributes: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MD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2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customer Info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8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ouchpoint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 attributes: 3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(hardcode): 1</a:t>
            </a:r>
          </a:p>
        </p:txBody>
      </p:sp>
    </p:spTree>
    <p:extLst>
      <p:ext uri="{BB962C8B-B14F-4D97-AF65-F5344CB8AC3E}">
        <p14:creationId xmlns:p14="http://schemas.microsoft.com/office/powerpoint/2010/main" val="40850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ource_customer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9" y="292099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 source custom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BF5276-0230-4C3D-EF95-7F55E66E7288}"/>
              </a:ext>
            </a:extLst>
          </p:cNvPr>
          <p:cNvSpPr/>
          <p:nvPr/>
        </p:nvSpPr>
        <p:spPr>
          <a:xfrm>
            <a:off x="1257300" y="156845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rpt_species_alloc_aligned_sls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DM source customer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F46495E9-9A8A-7B46-76C1-94A2D845C3B5}"/>
              </a:ext>
            </a:extLst>
          </p:cNvPr>
          <p:cNvSpPr/>
          <p:nvPr/>
        </p:nvSpPr>
        <p:spPr>
          <a:xfrm>
            <a:off x="2883690" y="1900237"/>
            <a:ext cx="319090" cy="33178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source_customer</a:t>
            </a:r>
            <a:endParaRPr lang="en-US" dirty="0"/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1F4D84F-4949-BAD9-6278-BC84A1EA1516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29174" y="2375694"/>
            <a:ext cx="1400176" cy="33178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B9C4034-A264-BB58-1D53-50927E8E1CB6}"/>
              </a:ext>
            </a:extLst>
          </p:cNvPr>
          <p:cNvCxnSpPr>
            <a:stCxn id="5" idx="3"/>
            <a:endCxn id="11" idx="1"/>
          </p:cNvCxnSpPr>
          <p:nvPr/>
        </p:nvCxnSpPr>
        <p:spPr>
          <a:xfrm flipV="1">
            <a:off x="4829174" y="2707481"/>
            <a:ext cx="1400176" cy="379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818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source_customer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RDM: 21893 C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29</a:t>
            </a:r>
          </a:p>
          <a:p>
            <a:r>
              <a:rPr lang="en-US" dirty="0"/>
              <a:t>Must have Attributes: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9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10</a:t>
            </a:r>
          </a:p>
        </p:txBody>
      </p:sp>
    </p:spTree>
    <p:extLst>
      <p:ext uri="{BB962C8B-B14F-4D97-AF65-F5344CB8AC3E}">
        <p14:creationId xmlns:p14="http://schemas.microsoft.com/office/powerpoint/2010/main" val="190600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territory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9" y="292099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 posi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DP posi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territory_customer</a:t>
            </a:r>
            <a:endParaRPr lang="en-US" dirty="0"/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1F4D84F-4949-BAD9-6278-BC84A1EA1516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29174" y="2375694"/>
            <a:ext cx="1400176" cy="33178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B9C4034-A264-BB58-1D53-50927E8E1CB6}"/>
              </a:ext>
            </a:extLst>
          </p:cNvPr>
          <p:cNvCxnSpPr>
            <a:stCxn id="5" idx="3"/>
            <a:endCxn id="11" idx="1"/>
          </p:cNvCxnSpPr>
          <p:nvPr/>
        </p:nvCxnSpPr>
        <p:spPr>
          <a:xfrm flipV="1">
            <a:off x="4829174" y="2707481"/>
            <a:ext cx="1400176" cy="379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10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territory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DDP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98% Match, because touchpoint data refresh g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tched 270 records, </a:t>
            </a:r>
            <a:r>
              <a:rPr lang="en-US" dirty="0">
                <a:solidFill>
                  <a:srgbClr val="FF0000"/>
                </a:solidFill>
              </a:rPr>
              <a:t>Not matched 5 recor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6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5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14</a:t>
            </a:r>
          </a:p>
        </p:txBody>
      </p:sp>
    </p:spTree>
    <p:extLst>
      <p:ext uri="{BB962C8B-B14F-4D97-AF65-F5344CB8AC3E}">
        <p14:creationId xmlns:p14="http://schemas.microsoft.com/office/powerpoint/2010/main" val="13469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ales_representative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57299" y="292099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us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57299" y="2209800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Workday:china_employee_info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territory_customer</a:t>
            </a:r>
            <a:endParaRPr lang="en-US" dirty="0"/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D1F4D84F-4949-BAD9-6278-BC84A1EA1516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29174" y="2375694"/>
            <a:ext cx="1400176" cy="33178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B9C4034-A264-BB58-1D53-50927E8E1CB6}"/>
              </a:ext>
            </a:extLst>
          </p:cNvPr>
          <p:cNvCxnSpPr>
            <a:stCxn id="5" idx="3"/>
            <a:endCxn id="11" idx="1"/>
          </p:cNvCxnSpPr>
          <p:nvPr/>
        </p:nvCxnSpPr>
        <p:spPr>
          <a:xfrm flipV="1">
            <a:off x="4829174" y="2707481"/>
            <a:ext cx="1400176" cy="3794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586F424E-BA4F-FB74-7FC0-35EDD0961FDA}"/>
              </a:ext>
            </a:extLst>
          </p:cNvPr>
          <p:cNvSpPr/>
          <p:nvPr/>
        </p:nvSpPr>
        <p:spPr>
          <a:xfrm>
            <a:off x="1257298" y="3632198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: </a:t>
            </a:r>
            <a:r>
              <a:rPr lang="en-US" dirty="0" err="1"/>
              <a:t>eu_position</a:t>
            </a:r>
            <a:endParaRPr lang="en-US" dirty="0"/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39C4C92A-2A17-2F1A-B58E-A26936F32A50}"/>
              </a:ext>
            </a:extLst>
          </p:cNvPr>
          <p:cNvCxnSpPr>
            <a:stCxn id="2" idx="3"/>
            <a:endCxn id="11" idx="1"/>
          </p:cNvCxnSpPr>
          <p:nvPr/>
        </p:nvCxnSpPr>
        <p:spPr>
          <a:xfrm flipV="1">
            <a:off x="4829173" y="2707481"/>
            <a:ext cx="1400177" cy="109061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692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sales_representative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100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5934075" y="195167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</a:t>
            </a:r>
            <a:r>
              <a:rPr lang="en-US" dirty="0" err="1"/>
              <a:t>wokday</a:t>
            </a:r>
            <a:r>
              <a:rPr lang="en-US" dirty="0"/>
              <a:t>: Count 98% Match, because touchpoint data refresh g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9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9</a:t>
            </a:r>
          </a:p>
        </p:txBody>
      </p:sp>
    </p:spTree>
    <p:extLst>
      <p:ext uri="{BB962C8B-B14F-4D97-AF65-F5344CB8AC3E}">
        <p14:creationId xmlns:p14="http://schemas.microsoft.com/office/powerpoint/2010/main" val="105698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tp_account_posi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Dim_tp_account_position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6F424E-BA4F-FB74-7FC0-35EDD0961FDA}"/>
              </a:ext>
            </a:extLst>
          </p:cNvPr>
          <p:cNvSpPr/>
          <p:nvPr/>
        </p:nvSpPr>
        <p:spPr>
          <a:xfrm>
            <a:off x="1409698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Touchpoint account position data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A04F576-4A6C-E534-80B4-0E5C6B7FA0E7}"/>
              </a:ext>
            </a:extLst>
          </p:cNvPr>
          <p:cNvCxnSpPr>
            <a:stCxn id="2" idx="3"/>
            <a:endCxn id="11" idx="1"/>
          </p:cNvCxnSpPr>
          <p:nvPr/>
        </p:nvCxnSpPr>
        <p:spPr>
          <a:xfrm>
            <a:off x="4981573" y="2707481"/>
            <a:ext cx="1247777" cy="0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34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Dim_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tp_account_position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ouchpoint: Count 100% M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1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1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0</a:t>
            </a:r>
          </a:p>
        </p:txBody>
      </p:sp>
    </p:spTree>
    <p:extLst>
      <p:ext uri="{BB962C8B-B14F-4D97-AF65-F5344CB8AC3E}">
        <p14:creationId xmlns:p14="http://schemas.microsoft.com/office/powerpoint/2010/main" val="411813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362C0F-A07E-4749-924E-539AD3018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9" y="262217"/>
            <a:ext cx="11293221" cy="664797"/>
          </a:xfrm>
        </p:spPr>
        <p:txBody>
          <a:bodyPr vert="horz"/>
          <a:lstStyle/>
          <a:p>
            <a:br>
              <a:rPr lang="en-US" dirty="0"/>
            </a:br>
            <a:r>
              <a:rPr lang="en-US" dirty="0"/>
              <a:t>Frontend Tabs in NGSE that support your daily workflow 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388E121-F56C-41F2-91F0-C157E3B08152}"/>
              </a:ext>
            </a:extLst>
          </p:cNvPr>
          <p:cNvSpPr/>
          <p:nvPr/>
        </p:nvSpPr>
        <p:spPr>
          <a:xfrm>
            <a:off x="8943702" y="1107061"/>
            <a:ext cx="2798657" cy="373685"/>
          </a:xfrm>
          <a:prstGeom prst="roundRect">
            <a:avLst>
              <a:gd name="adj" fmla="val 16667"/>
            </a:avLst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buSzPct val="100000"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C</a:t>
            </a:r>
            <a:r>
              <a:rPr lang="en-US" altLang="zh-CN" sz="1600" b="1" dirty="0">
                <a:solidFill>
                  <a:srgbClr val="FFFFFF"/>
                </a:solidFill>
                <a:latin typeface="Arial"/>
              </a:rPr>
              <a:t>hina Enhancement</a:t>
            </a:r>
            <a:endParaRPr lang="en-US" sz="1600" b="1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63612EA-58DC-4C65-B46C-397B6EA735F4}"/>
              </a:ext>
            </a:extLst>
          </p:cNvPr>
          <p:cNvCxnSpPr>
            <a:cxnSpLocks/>
          </p:cNvCxnSpPr>
          <p:nvPr/>
        </p:nvCxnSpPr>
        <p:spPr>
          <a:xfrm>
            <a:off x="8598761" y="1107061"/>
            <a:ext cx="0" cy="4764412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4685D12-61FB-4F9A-A5B0-7739B4CC1F7B}"/>
              </a:ext>
            </a:extLst>
          </p:cNvPr>
          <p:cNvSpPr txBox="1"/>
          <p:nvPr/>
        </p:nvSpPr>
        <p:spPr>
          <a:xfrm>
            <a:off x="8943702" y="4684557"/>
            <a:ext cx="2798657" cy="107721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lang="en-US" sz="1400" dirty="0">
                <a:solidFill>
                  <a:srgbClr val="595756"/>
                </a:solidFill>
                <a:latin typeface="Arial"/>
              </a:rPr>
              <a:t>Except for existing tabs, </a:t>
            </a:r>
            <a:r>
              <a:rPr lang="en-US" altLang="zh-CN" sz="1400" dirty="0">
                <a:solidFill>
                  <a:srgbClr val="595756"/>
                </a:solidFill>
                <a:latin typeface="Arial"/>
              </a:rPr>
              <a:t>sales representative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 can also access NGSE Portal via </a:t>
            </a:r>
            <a:r>
              <a:rPr lang="en-US" sz="1400" dirty="0" err="1">
                <a:solidFill>
                  <a:srgbClr val="595756"/>
                </a:solidFill>
                <a:latin typeface="Arial"/>
              </a:rPr>
              <a:t>Wechat</a:t>
            </a:r>
            <a:r>
              <a:rPr lang="en-US" sz="1400" dirty="0">
                <a:solidFill>
                  <a:srgbClr val="595756"/>
                </a:solidFill>
                <a:latin typeface="Arial"/>
              </a:rPr>
              <a:t> 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CDF2AEB2-366A-4662-8691-5A4F182F37E6}"/>
              </a:ext>
            </a:extLst>
          </p:cNvPr>
          <p:cNvSpPr/>
          <p:nvPr/>
        </p:nvSpPr>
        <p:spPr>
          <a:xfrm>
            <a:off x="8943702" y="1599049"/>
            <a:ext cx="2798657" cy="373685"/>
          </a:xfrm>
          <a:prstGeom prst="roundRect">
            <a:avLst>
              <a:gd name="adj" fmla="val 16667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94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594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chat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59575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g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F83EB1D-C65B-45C7-BD7B-37409CCAD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43703" y="2100778"/>
            <a:ext cx="2798656" cy="2051865"/>
          </a:xfrm>
          <a:prstGeom prst="rect">
            <a:avLst/>
          </a:prstGeom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82D0FFB1-4F80-45D4-A8D0-06187BB4938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3" imgH="363" progId="TCLayout.ActiveDocument.1">
                  <p:embed/>
                </p:oleObj>
              </mc:Choice>
              <mc:Fallback>
                <p:oleObj name="think-cell Slide" r:id="rId9" imgW="353" imgH="363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82D0FFB1-4F80-45D4-A8D0-06187BB493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矩形 22">
            <a:extLst>
              <a:ext uri="{FF2B5EF4-FFF2-40B4-BE49-F238E27FC236}">
                <a16:creationId xmlns:a16="http://schemas.microsoft.com/office/drawing/2014/main" id="{92549D5E-CBC4-4267-B653-0B1905C8E2D4}"/>
              </a:ext>
            </a:extLst>
          </p:cNvPr>
          <p:cNvSpPr/>
          <p:nvPr/>
        </p:nvSpPr>
        <p:spPr>
          <a:xfrm>
            <a:off x="8943702" y="2141492"/>
            <a:ext cx="2798657" cy="196024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b="1" dirty="0" err="1">
                <a:solidFill>
                  <a:srgbClr val="FFFFFF"/>
                </a:solidFill>
              </a:rPr>
              <a:t>Wechat</a:t>
            </a:r>
            <a:r>
              <a:rPr lang="en-US" altLang="zh-CN" sz="1400" b="1" dirty="0">
                <a:solidFill>
                  <a:srgbClr val="FFFFFF"/>
                </a:solidFill>
              </a:rPr>
              <a:t> demo</a:t>
            </a:r>
          </a:p>
          <a:p>
            <a:pPr algn="ctr"/>
            <a:endParaRPr lang="en-US" altLang="zh-CN" sz="1400" b="1" dirty="0">
              <a:solidFill>
                <a:srgbClr val="FFFFFF"/>
              </a:solidFill>
            </a:endParaRPr>
          </a:p>
          <a:p>
            <a:pPr algn="ctr"/>
            <a:r>
              <a:rPr lang="en-US" altLang="zh-CN" sz="1400" b="1" dirty="0">
                <a:solidFill>
                  <a:srgbClr val="FFFFFF"/>
                </a:solidFill>
              </a:rPr>
              <a:t>future work</a:t>
            </a:r>
            <a:endParaRPr lang="zh-CN" altLang="en-US" sz="1400" b="1" dirty="0">
              <a:solidFill>
                <a:srgbClr val="FFFFFF"/>
              </a:solidFill>
            </a:endParaRPr>
          </a:p>
        </p:txBody>
      </p:sp>
      <p:sp>
        <p:nvSpPr>
          <p:cNvPr id="31" name="Rectangle: Rounded Corners 27">
            <a:extLst>
              <a:ext uri="{FF2B5EF4-FFF2-40B4-BE49-F238E27FC236}">
                <a16:creationId xmlns:a16="http://schemas.microsoft.com/office/drawing/2014/main" id="{2C4328F3-D20B-4FBA-B62C-202E37E9FD59}"/>
              </a:ext>
            </a:extLst>
          </p:cNvPr>
          <p:cNvSpPr/>
          <p:nvPr/>
        </p:nvSpPr>
        <p:spPr>
          <a:xfrm>
            <a:off x="235136" y="1107061"/>
            <a:ext cx="8011880" cy="37368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buSzPct val="100000"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NGSE Tabs Localization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CA8726FA-65FF-41BB-92A5-841CB4A3BF51}"/>
              </a:ext>
            </a:extLst>
          </p:cNvPr>
          <p:cNvGrpSpPr/>
          <p:nvPr/>
        </p:nvGrpSpPr>
        <p:grpSpPr>
          <a:xfrm>
            <a:off x="265514" y="1623062"/>
            <a:ext cx="2172541" cy="4690651"/>
            <a:chOff x="394784" y="1623062"/>
            <a:chExt cx="2172541" cy="4690651"/>
          </a:xfrm>
        </p:grpSpPr>
        <p:sp>
          <p:nvSpPr>
            <p:cNvPr id="33" name="Rectangle: Rounded Corners 27">
              <a:extLst>
                <a:ext uri="{FF2B5EF4-FFF2-40B4-BE49-F238E27FC236}">
                  <a16:creationId xmlns:a16="http://schemas.microsoft.com/office/drawing/2014/main" id="{27DB7B04-E686-4D1E-8386-8095FB444690}"/>
                </a:ext>
              </a:extLst>
            </p:cNvPr>
            <p:cNvSpPr/>
            <p:nvPr/>
          </p:nvSpPr>
          <p:spPr>
            <a:xfrm>
              <a:off x="449139" y="1623062"/>
              <a:ext cx="2099559" cy="373685"/>
            </a:xfrm>
            <a:prstGeom prst="roundRect">
              <a:avLst/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oritized Call List</a:t>
              </a:r>
            </a:p>
          </p:txBody>
        </p:sp>
        <p:sp>
          <p:nvSpPr>
            <p:cNvPr id="34" name="TextBox 34">
              <a:extLst>
                <a:ext uri="{FF2B5EF4-FFF2-40B4-BE49-F238E27FC236}">
                  <a16:creationId xmlns:a16="http://schemas.microsoft.com/office/drawing/2014/main" id="{AB0055B5-539E-4DC9-9327-313D20CE2ADB}"/>
                </a:ext>
              </a:extLst>
            </p:cNvPr>
            <p:cNvSpPr txBox="1"/>
            <p:nvPr/>
          </p:nvSpPr>
          <p:spPr>
            <a:xfrm>
              <a:off x="394784" y="4684556"/>
              <a:ext cx="2172541" cy="162915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65C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nked/Prioritized list of all of a rep's accounts to contact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sed on time since last contact and key time-sensitive discussion topics ("Next-best-actions" or "NBAs")</a:t>
              </a:r>
            </a:p>
          </p:txBody>
        </p:sp>
        <p:sp>
          <p:nvSpPr>
            <p:cNvPr id="36" name="Rectangle: Rounded Corners 18">
              <a:extLst>
                <a:ext uri="{FF2B5EF4-FFF2-40B4-BE49-F238E27FC236}">
                  <a16:creationId xmlns:a16="http://schemas.microsoft.com/office/drawing/2014/main" id="{CEEF5545-6976-4F07-BAA5-BE263053133D}"/>
                </a:ext>
              </a:extLst>
            </p:cNvPr>
            <p:cNvSpPr/>
            <p:nvPr/>
          </p:nvSpPr>
          <p:spPr>
            <a:xfrm>
              <a:off x="449139" y="2034480"/>
              <a:ext cx="2099559" cy="373685"/>
            </a:xfrm>
            <a:prstGeom prst="round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rritory planning</a:t>
              </a:r>
            </a:p>
          </p:txBody>
        </p:sp>
        <p:pic>
          <p:nvPicPr>
            <p:cNvPr id="39" name="Picture 23">
              <a:extLst>
                <a:ext uri="{FF2B5EF4-FFF2-40B4-BE49-F238E27FC236}">
                  <a16:creationId xmlns:a16="http://schemas.microsoft.com/office/drawing/2014/main" id="{1D7C3676-14CB-4EF8-B771-7648BEF4E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49139" y="2536209"/>
              <a:ext cx="2099560" cy="2051865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BC3583CE-E052-40AE-B001-AAC3A4280FA8}"/>
              </a:ext>
            </a:extLst>
          </p:cNvPr>
          <p:cNvGrpSpPr/>
          <p:nvPr/>
        </p:nvGrpSpPr>
        <p:grpSpPr>
          <a:xfrm>
            <a:off x="2561027" y="1623062"/>
            <a:ext cx="2932310" cy="4138713"/>
            <a:chOff x="2673058" y="1623062"/>
            <a:chExt cx="2434737" cy="4138713"/>
          </a:xfrm>
        </p:grpSpPr>
        <p:sp>
          <p:nvSpPr>
            <p:cNvPr id="42" name="Rectangle: Rounded Corners 28">
              <a:extLst>
                <a:ext uri="{FF2B5EF4-FFF2-40B4-BE49-F238E27FC236}">
                  <a16:creationId xmlns:a16="http://schemas.microsoft.com/office/drawing/2014/main" id="{5AD2A2EE-CB7E-4065-AD30-ED582DB15C18}"/>
                </a:ext>
              </a:extLst>
            </p:cNvPr>
            <p:cNvSpPr/>
            <p:nvPr/>
          </p:nvSpPr>
          <p:spPr>
            <a:xfrm>
              <a:off x="2721327" y="1623062"/>
              <a:ext cx="2361831" cy="373685"/>
            </a:xfrm>
            <a:prstGeom prst="roundRect">
              <a:avLst/>
            </a:prstGeom>
            <a:solidFill>
              <a:srgbClr val="01516F"/>
            </a:solidFill>
            <a:ln w="9525" cap="rnd" cmpd="sng" algn="ctr">
              <a:solidFill>
                <a:srgbClr val="01516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stomer Insights</a:t>
              </a:r>
            </a:p>
          </p:txBody>
        </p:sp>
        <p:sp>
          <p:nvSpPr>
            <p:cNvPr id="44" name="TextBox 36">
              <a:extLst>
                <a:ext uri="{FF2B5EF4-FFF2-40B4-BE49-F238E27FC236}">
                  <a16:creationId xmlns:a16="http://schemas.microsoft.com/office/drawing/2014/main" id="{DB8D878A-19AE-4F52-BDD2-23F8FB3ECE46}"/>
                </a:ext>
              </a:extLst>
            </p:cNvPr>
            <p:cNvSpPr txBox="1"/>
            <p:nvPr/>
          </p:nvSpPr>
          <p:spPr>
            <a:xfrm>
              <a:off x="2673058" y="4684557"/>
              <a:ext cx="2434737" cy="10772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151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 dashboard for all essential account information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cl. sales overview per brand, contract information, discounts and campaign leads – helping you to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y and confirm customer need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d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velop tailored solutions</a:t>
              </a:r>
            </a:p>
          </p:txBody>
        </p:sp>
        <p:sp>
          <p:nvSpPr>
            <p:cNvPr id="46" name="Rectangle: Rounded Corners 19">
              <a:extLst>
                <a:ext uri="{FF2B5EF4-FFF2-40B4-BE49-F238E27FC236}">
                  <a16:creationId xmlns:a16="http://schemas.microsoft.com/office/drawing/2014/main" id="{73D5BD26-9188-48FA-9C60-7B3AFD9B1EC2}"/>
                </a:ext>
              </a:extLst>
            </p:cNvPr>
            <p:cNvSpPr/>
            <p:nvPr/>
          </p:nvSpPr>
          <p:spPr>
            <a:xfrm>
              <a:off x="2721327" y="2034480"/>
              <a:ext cx="2361831" cy="373685"/>
            </a:xfrm>
            <a:prstGeom prst="round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1516F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1516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ll Planning and Pre-call Planning</a:t>
              </a:r>
            </a:p>
          </p:txBody>
        </p:sp>
        <p:pic>
          <p:nvPicPr>
            <p:cNvPr id="48" name="Picture 24">
              <a:extLst>
                <a:ext uri="{FF2B5EF4-FFF2-40B4-BE49-F238E27FC236}">
                  <a16:creationId xmlns:a16="http://schemas.microsoft.com/office/drawing/2014/main" id="{657A26F7-3A46-4431-9D22-9390D8263A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909" t="548" r="2653" b="2711"/>
            <a:stretch/>
          </p:blipFill>
          <p:spPr>
            <a:xfrm>
              <a:off x="2721327" y="2536209"/>
              <a:ext cx="2351181" cy="2051865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B35BE2C2-00D0-4F09-AB8D-EEE9A61AFA2B}"/>
              </a:ext>
            </a:extLst>
          </p:cNvPr>
          <p:cNvGrpSpPr/>
          <p:nvPr/>
        </p:nvGrpSpPr>
        <p:grpSpPr>
          <a:xfrm>
            <a:off x="5672102" y="1623062"/>
            <a:ext cx="2525190" cy="4138713"/>
            <a:chOff x="5364775" y="1623062"/>
            <a:chExt cx="2525190" cy="4138713"/>
          </a:xfrm>
        </p:grpSpPr>
        <p:sp>
          <p:nvSpPr>
            <p:cNvPr id="43" name="Rectangle: Rounded Corners 29">
              <a:extLst>
                <a:ext uri="{FF2B5EF4-FFF2-40B4-BE49-F238E27FC236}">
                  <a16:creationId xmlns:a16="http://schemas.microsoft.com/office/drawing/2014/main" id="{BFD1CABA-3C80-42A4-91E3-586BE04804CF}"/>
                </a:ext>
              </a:extLst>
            </p:cNvPr>
            <p:cNvSpPr/>
            <p:nvPr/>
          </p:nvSpPr>
          <p:spPr>
            <a:xfrm>
              <a:off x="5364775" y="1623062"/>
              <a:ext cx="2525190" cy="373685"/>
            </a:xfrm>
            <a:prstGeom prst="roundRect">
              <a:avLst>
                <a:gd name="adj" fmla="val 16667"/>
              </a:avLst>
            </a:prstGeom>
            <a:solidFill>
              <a:srgbClr val="00594E"/>
            </a:solidFill>
            <a:ln w="9525" cap="rnd" cmpd="sng" algn="ctr">
              <a:solidFill>
                <a:srgbClr val="00594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oss-Talk</a:t>
              </a:r>
            </a:p>
          </p:txBody>
        </p:sp>
        <p:sp>
          <p:nvSpPr>
            <p:cNvPr id="45" name="TextBox 37">
              <a:extLst>
                <a:ext uri="{FF2B5EF4-FFF2-40B4-BE49-F238E27FC236}">
                  <a16:creationId xmlns:a16="http://schemas.microsoft.com/office/drawing/2014/main" id="{AB10A623-7E7C-45FD-BAE6-AC2C841D0E19}"/>
                </a:ext>
              </a:extLst>
            </p:cNvPr>
            <p:cNvSpPr txBox="1"/>
            <p:nvPr/>
          </p:nvSpPr>
          <p:spPr>
            <a:xfrm>
              <a:off x="5364775" y="4684557"/>
              <a:ext cx="2525190" cy="10772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9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le source of truth for all past and upcoming interaction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 account has with Zoetis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9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ross salesforce (Rx, ISR, DAM), Customer Service and Product Support</a:t>
              </a:r>
            </a:p>
          </p:txBody>
        </p:sp>
        <p:sp>
          <p:nvSpPr>
            <p:cNvPr id="47" name="Rectangle: Rounded Corners 20">
              <a:extLst>
                <a:ext uri="{FF2B5EF4-FFF2-40B4-BE49-F238E27FC236}">
                  <a16:creationId xmlns:a16="http://schemas.microsoft.com/office/drawing/2014/main" id="{43AB66FD-56AD-45EA-AFED-A14C3B690BDE}"/>
                </a:ext>
              </a:extLst>
            </p:cNvPr>
            <p:cNvSpPr/>
            <p:nvPr/>
          </p:nvSpPr>
          <p:spPr>
            <a:xfrm>
              <a:off x="5364775" y="2034480"/>
              <a:ext cx="2525190" cy="373685"/>
            </a:xfrm>
            <a:prstGeom prst="roundRect">
              <a:avLst>
                <a:gd name="adj" fmla="val 16667"/>
              </a:avLst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594E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594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59575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-call Planning and Post-call follow-ups</a:t>
              </a:r>
            </a:p>
          </p:txBody>
        </p:sp>
        <p:pic>
          <p:nvPicPr>
            <p:cNvPr id="49" name="Picture 25">
              <a:extLst>
                <a:ext uri="{FF2B5EF4-FFF2-40B4-BE49-F238E27FC236}">
                  <a16:creationId xmlns:a16="http://schemas.microsoft.com/office/drawing/2014/main" id="{C0ED125E-3AB2-4459-85F7-4A0F0C116C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64775" y="2536209"/>
              <a:ext cx="2525190" cy="2051865"/>
            </a:xfrm>
            <a:prstGeom prst="rect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1" name="矩形 50">
            <a:extLst>
              <a:ext uri="{FF2B5EF4-FFF2-40B4-BE49-F238E27FC236}">
                <a16:creationId xmlns:a16="http://schemas.microsoft.com/office/drawing/2014/main" id="{D88E4C06-36B4-4706-8759-0B5D421C8693}"/>
              </a:ext>
            </a:extLst>
          </p:cNvPr>
          <p:cNvSpPr/>
          <p:nvPr/>
        </p:nvSpPr>
        <p:spPr>
          <a:xfrm>
            <a:off x="265514" y="6224607"/>
            <a:ext cx="8110028" cy="18558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100" dirty="0">
                <a:solidFill>
                  <a:srgbClr val="FFFFFF"/>
                </a:solidFill>
              </a:rPr>
              <a:t>Existing Global NGSE Tabs, can be localized in China with minimal adjustment as long as data ready </a:t>
            </a:r>
            <a:endParaRPr lang="zh-CN" altLang="en-US" sz="1100" dirty="0">
              <a:solidFill>
                <a:srgbClr val="FFFFFF"/>
              </a:solidFill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71DEE41D-752C-48BB-9DCE-E6F2D7A62559}"/>
              </a:ext>
            </a:extLst>
          </p:cNvPr>
          <p:cNvSpPr/>
          <p:nvPr/>
        </p:nvSpPr>
        <p:spPr>
          <a:xfrm>
            <a:off x="8739161" y="5486370"/>
            <a:ext cx="3207738" cy="3736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100" dirty="0">
                <a:solidFill>
                  <a:srgbClr val="FFFFFF"/>
                </a:solidFill>
              </a:rPr>
              <a:t>Integrate with </a:t>
            </a:r>
            <a:r>
              <a:rPr lang="en-US" altLang="zh-CN" sz="1100" dirty="0" err="1">
                <a:solidFill>
                  <a:srgbClr val="FFFFFF"/>
                </a:solidFill>
              </a:rPr>
              <a:t>Wechat</a:t>
            </a:r>
            <a:r>
              <a:rPr lang="en-US" altLang="zh-CN" sz="1100" dirty="0">
                <a:solidFill>
                  <a:srgbClr val="FFFFFF"/>
                </a:solidFill>
              </a:rPr>
              <a:t> mini program to show results on </a:t>
            </a:r>
            <a:r>
              <a:rPr lang="en-US" altLang="zh-CN" sz="1100" dirty="0" err="1">
                <a:solidFill>
                  <a:srgbClr val="FFFFFF"/>
                </a:solidFill>
              </a:rPr>
              <a:t>wechat</a:t>
            </a:r>
            <a:r>
              <a:rPr lang="en-US" altLang="zh-CN" sz="1100" dirty="0">
                <a:solidFill>
                  <a:srgbClr val="FFFFFF"/>
                </a:solidFill>
              </a:rPr>
              <a:t> </a:t>
            </a:r>
            <a:endParaRPr lang="zh-CN" altLang="en-US" sz="11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517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33ACCED-7BB7-5737-94F3-3A06955BBBC9}"/>
              </a:ext>
            </a:extLst>
          </p:cNvPr>
          <p:cNvSpPr txBox="1">
            <a:spLocks/>
          </p:cNvSpPr>
          <p:nvPr/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fact_account_posi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- Assessment Result</a:t>
            </a:r>
            <a:endParaRPr lang="en-US" dirty="0">
              <a:solidFill>
                <a:srgbClr val="F65C00"/>
              </a:solidFill>
              <a:latin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24662F-52FD-B290-0455-26FF0FF8AE5E}"/>
              </a:ext>
            </a:extLst>
          </p:cNvPr>
          <p:cNvSpPr/>
          <p:nvPr/>
        </p:nvSpPr>
        <p:spPr>
          <a:xfrm>
            <a:off x="1238249" y="1997074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DDP custom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10D041-F74F-03F9-0A9E-F439F7A10A99}"/>
              </a:ext>
            </a:extLst>
          </p:cNvPr>
          <p:cNvSpPr/>
          <p:nvPr/>
        </p:nvSpPr>
        <p:spPr>
          <a:xfrm>
            <a:off x="1238249" y="1285875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DDP position</a:t>
            </a:r>
            <a:r>
              <a:rPr lang="en-US" dirty="0">
                <a:solidFill>
                  <a:srgbClr val="000000"/>
                </a:solidFill>
                <a:latin typeface="Menlo"/>
              </a:rPr>
              <a:t> </a:t>
            </a:r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account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335AA0-BFD2-9982-FC95-47A66FD3C75E}"/>
              </a:ext>
            </a:extLst>
          </p:cNvPr>
          <p:cNvSpPr/>
          <p:nvPr/>
        </p:nvSpPr>
        <p:spPr>
          <a:xfrm>
            <a:off x="6229350" y="2541587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/>
              <a:t>Fact_account_position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6F424E-BA4F-FB74-7FC0-35EDD0961FDA}"/>
              </a:ext>
            </a:extLst>
          </p:cNvPr>
          <p:cNvSpPr/>
          <p:nvPr/>
        </p:nvSpPr>
        <p:spPr>
          <a:xfrm>
            <a:off x="1238248" y="2708273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  <a:latin typeface="Menlo"/>
              </a:rPr>
              <a:t>Touchpoint </a:t>
            </a:r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account</a:t>
            </a:r>
            <a:r>
              <a:rPr lang="en-US" dirty="0">
                <a:solidFill>
                  <a:srgbClr val="000000"/>
                </a:solidFill>
                <a:latin typeface="Menlo"/>
              </a:rPr>
              <a:t> </a:t>
            </a:r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position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AE2AB9-1200-50F2-EDE7-BF69D94AB6C3}"/>
              </a:ext>
            </a:extLst>
          </p:cNvPr>
          <p:cNvSpPr/>
          <p:nvPr/>
        </p:nvSpPr>
        <p:spPr>
          <a:xfrm>
            <a:off x="1238248" y="3392489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NGSE territor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3C6BE8-64A7-A836-B3F5-CB7BBD6FD620}"/>
              </a:ext>
            </a:extLst>
          </p:cNvPr>
          <p:cNvSpPr/>
          <p:nvPr/>
        </p:nvSpPr>
        <p:spPr>
          <a:xfrm>
            <a:off x="1238247" y="4076705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Workday </a:t>
            </a:r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china</a:t>
            </a:r>
            <a:r>
              <a:rPr lang="en-US" dirty="0">
                <a:solidFill>
                  <a:srgbClr val="000000"/>
                </a:solidFill>
                <a:latin typeface="Menlo"/>
              </a:rPr>
              <a:t> </a:t>
            </a:r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employee</a:t>
            </a:r>
            <a:r>
              <a:rPr lang="en-US" dirty="0">
                <a:solidFill>
                  <a:srgbClr val="000000"/>
                </a:solidFill>
                <a:latin typeface="Menlo"/>
              </a:rPr>
              <a:t> </a:t>
            </a:r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inf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187FA5B-FC37-C662-67C3-FD21875E4B39}"/>
              </a:ext>
            </a:extLst>
          </p:cNvPr>
          <p:cNvSpPr/>
          <p:nvPr/>
        </p:nvSpPr>
        <p:spPr>
          <a:xfrm>
            <a:off x="1238247" y="4760921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NGSE </a:t>
            </a:r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sales_representative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E4725D9-201C-CA09-1317-F2B1D7DAA86A}"/>
              </a:ext>
            </a:extLst>
          </p:cNvPr>
          <p:cNvSpPr/>
          <p:nvPr/>
        </p:nvSpPr>
        <p:spPr>
          <a:xfrm>
            <a:off x="1219193" y="5499103"/>
            <a:ext cx="3571875" cy="33178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0" dirty="0">
                <a:solidFill>
                  <a:srgbClr val="000000"/>
                </a:solidFill>
                <a:effectLst/>
                <a:latin typeface="Menlo"/>
              </a:rPr>
              <a:t>NGSE </a:t>
            </a:r>
            <a:r>
              <a:rPr lang="en-US" b="0" dirty="0" err="1">
                <a:solidFill>
                  <a:srgbClr val="000000"/>
                </a:solidFill>
                <a:effectLst/>
                <a:latin typeface="Menlo"/>
              </a:rPr>
              <a:t>dim_tp_account_position</a:t>
            </a:r>
            <a:endParaRPr lang="en-US" b="0" dirty="0">
              <a:solidFill>
                <a:srgbClr val="000000"/>
              </a:solidFill>
              <a:effectLst/>
              <a:latin typeface="Menlo"/>
            </a:endParaRP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085A1B2-96BB-2BBA-9CB6-3E56B4706FCE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4810124" y="1451769"/>
            <a:ext cx="1419226" cy="125571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3F95F564-D071-29F3-F6D8-0B1993E7894A}"/>
              </a:ext>
            </a:extLst>
          </p:cNvPr>
          <p:cNvCxnSpPr>
            <a:stCxn id="5" idx="3"/>
            <a:endCxn id="11" idx="1"/>
          </p:cNvCxnSpPr>
          <p:nvPr/>
        </p:nvCxnSpPr>
        <p:spPr>
          <a:xfrm>
            <a:off x="4810124" y="2162968"/>
            <a:ext cx="1419226" cy="54451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C4BE5DA9-CF29-CA79-2F57-1A941418D6EC}"/>
              </a:ext>
            </a:extLst>
          </p:cNvPr>
          <p:cNvCxnSpPr>
            <a:stCxn id="2" idx="3"/>
            <a:endCxn id="11" idx="1"/>
          </p:cNvCxnSpPr>
          <p:nvPr/>
        </p:nvCxnSpPr>
        <p:spPr>
          <a:xfrm flipV="1">
            <a:off x="4810123" y="2707481"/>
            <a:ext cx="1419227" cy="16668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19C90DD2-1A76-1BBB-11E0-F2738A0CD924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4810123" y="2707481"/>
            <a:ext cx="1419227" cy="85090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DD62B964-8435-9DDE-E0F8-C5D588CC786D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flipV="1">
            <a:off x="4810122" y="2707481"/>
            <a:ext cx="1419228" cy="153511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CD0ECA42-2D5F-FDD5-001B-CC19FCB8D9BC}"/>
              </a:ext>
            </a:extLst>
          </p:cNvPr>
          <p:cNvCxnSpPr>
            <a:stCxn id="12" idx="3"/>
            <a:endCxn id="11" idx="1"/>
          </p:cNvCxnSpPr>
          <p:nvPr/>
        </p:nvCxnSpPr>
        <p:spPr>
          <a:xfrm flipV="1">
            <a:off x="4810122" y="2707481"/>
            <a:ext cx="1419228" cy="221933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6A34F914-AD2B-377B-0245-CF1F63BE522D}"/>
              </a:ext>
            </a:extLst>
          </p:cNvPr>
          <p:cNvCxnSpPr>
            <a:stCxn id="16" idx="3"/>
            <a:endCxn id="11" idx="1"/>
          </p:cNvCxnSpPr>
          <p:nvPr/>
        </p:nvCxnSpPr>
        <p:spPr>
          <a:xfrm flipV="1">
            <a:off x="4791068" y="2707481"/>
            <a:ext cx="1438282" cy="295751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116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CDD9887-8ED3-3FF4-98C5-897EF7155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fact_account_posi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C1BCF6-8BFF-897B-0C19-BC275A0EFE3A}"/>
              </a:ext>
            </a:extLst>
          </p:cNvPr>
          <p:cNvSpPr txBox="1"/>
          <p:nvPr/>
        </p:nvSpPr>
        <p:spPr>
          <a:xfrm>
            <a:off x="1076325" y="5560217"/>
            <a:ext cx="485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ore: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F8A06B-09D9-4636-B0CF-71462AC97364}"/>
              </a:ext>
            </a:extLst>
          </p:cNvPr>
          <p:cNvSpPr txBox="1"/>
          <p:nvPr/>
        </p:nvSpPr>
        <p:spPr>
          <a:xfrm>
            <a:off x="6096000" y="1959232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Data Qua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count is </a:t>
            </a:r>
            <a:r>
              <a:rPr lang="en-US" b="0" i="0" dirty="0">
                <a:effectLst/>
                <a:latin typeface="-apple-system"/>
              </a:rPr>
              <a:t>78491</a:t>
            </a:r>
            <a:r>
              <a:rPr lang="en-US" dirty="0"/>
              <a:t> records</a:t>
            </a:r>
            <a:r>
              <a:rPr lang="en-US"/>
              <a:t>. </a:t>
            </a:r>
            <a:endParaRPr lang="en-US" altLang="zh-CN" dirty="0">
              <a:latin typeface="-apple-system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FF0000"/>
                </a:solidFill>
                <a:effectLst/>
                <a:latin typeface="-apple-system"/>
              </a:rPr>
              <a:t>18473</a:t>
            </a:r>
            <a:r>
              <a:rPr lang="en-US" dirty="0">
                <a:solidFill>
                  <a:srgbClr val="FF0000"/>
                </a:solidFill>
                <a:latin typeface="-apple-system"/>
              </a:rPr>
              <a:t> </a:t>
            </a:r>
            <a:r>
              <a:rPr lang="en-US" b="0" dirty="0" err="1">
                <a:solidFill>
                  <a:srgbClr val="FF0000"/>
                </a:solidFill>
                <a:effectLst/>
                <a:latin typeface="Menlo"/>
              </a:rPr>
              <a:t>dimSalesRepresentativeKey</a:t>
            </a:r>
            <a:r>
              <a:rPr lang="en-US" dirty="0">
                <a:solidFill>
                  <a:srgbClr val="FF0000"/>
                </a:solidFill>
                <a:latin typeface="Menlo"/>
              </a:rPr>
              <a:t> are not match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FF0000"/>
                </a:solidFill>
                <a:latin typeface="Menlo"/>
              </a:rPr>
              <a:t>11 </a:t>
            </a:r>
            <a:r>
              <a:rPr lang="en-US" dirty="0" err="1">
                <a:solidFill>
                  <a:srgbClr val="FF0000"/>
                </a:solidFill>
                <a:latin typeface="Menlo"/>
              </a:rPr>
              <a:t>dimTPfactAccountPositionKey</a:t>
            </a:r>
            <a:r>
              <a:rPr lang="en-US" dirty="0">
                <a:solidFill>
                  <a:srgbClr val="FF0000"/>
                </a:solidFill>
                <a:latin typeface="Menlo"/>
              </a:rPr>
              <a:t> are not matched</a:t>
            </a:r>
            <a:endParaRPr lang="en-US" altLang="zh-CN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26980D-F784-60D4-18B0-C1A9F27B3FEB}"/>
              </a:ext>
            </a:extLst>
          </p:cNvPr>
          <p:cNvSpPr txBox="1"/>
          <p:nvPr/>
        </p:nvSpPr>
        <p:spPr>
          <a:xfrm>
            <a:off x="1076325" y="2003939"/>
            <a:ext cx="43814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b="1" dirty="0"/>
              <a:t>Data Structure:</a:t>
            </a:r>
          </a:p>
          <a:p>
            <a:r>
              <a:rPr lang="en-US" dirty="0"/>
              <a:t>Total Required Attributes: 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DM source custome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hina provides attributes: 8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ssing attributes (hardcode): 0</a:t>
            </a:r>
          </a:p>
        </p:txBody>
      </p:sp>
    </p:spTree>
    <p:extLst>
      <p:ext uri="{BB962C8B-B14F-4D97-AF65-F5344CB8AC3E}">
        <p14:creationId xmlns:p14="http://schemas.microsoft.com/office/powerpoint/2010/main" val="231894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BC82B3A-F884-5021-890B-B77C1D08100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9263" y="595313"/>
            <a:ext cx="11293475" cy="3317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Sales_Organization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and </a:t>
            </a:r>
            <a:r>
              <a:rPr lang="en-US" altLang="zh-CN" dirty="0" err="1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dim_Market_Code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- Assessment </a:t>
            </a:r>
            <a:r>
              <a:rPr kumimoji="0" lang="en-US" altLang="zh-CN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Result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A23FCB-88AD-F616-C859-D27CFC5F1544}"/>
              </a:ext>
            </a:extLst>
          </p:cNvPr>
          <p:cNvSpPr txBox="1"/>
          <p:nvPr/>
        </p:nvSpPr>
        <p:spPr>
          <a:xfrm>
            <a:off x="571499" y="1819275"/>
            <a:ext cx="9191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Dim_Sales_Organization</a:t>
            </a:r>
            <a:r>
              <a:rPr lang="en-US" dirty="0"/>
              <a:t> and </a:t>
            </a:r>
            <a:r>
              <a:rPr lang="en-US" dirty="0" err="1"/>
              <a:t>dim_Market_Code</a:t>
            </a:r>
            <a:r>
              <a:rPr lang="en-US" dirty="0"/>
              <a:t> are configuration data. They are hard code.</a:t>
            </a:r>
          </a:p>
        </p:txBody>
      </p:sp>
    </p:spTree>
    <p:extLst>
      <p:ext uri="{BB962C8B-B14F-4D97-AF65-F5344CB8AC3E}">
        <p14:creationId xmlns:p14="http://schemas.microsoft.com/office/powerpoint/2010/main" val="357992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ee4pFootnotes">
            <a:extLst>
              <a:ext uri="{FF2B5EF4-FFF2-40B4-BE49-F238E27FC236}">
                <a16:creationId xmlns:a16="http://schemas.microsoft.com/office/drawing/2014/main" id="{D102EC5D-FDD0-47EA-A651-DD7C632163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350" y="6478222"/>
            <a:ext cx="10307654" cy="1384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national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DC7B6B66-2A92-4F98-9596-EB5CE35F1D11}"/>
              </a:ext>
            </a:extLst>
          </p:cNvPr>
          <p:cNvSpPr/>
          <p:nvPr/>
        </p:nvSpPr>
        <p:spPr>
          <a:xfrm>
            <a:off x="217714" y="241279"/>
            <a:ext cx="6331132" cy="675682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China Enhancement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6647CA1-95C2-4103-B5E2-3EC93581FFCC}"/>
              </a:ext>
            </a:extLst>
          </p:cNvPr>
          <p:cNvSpPr/>
          <p:nvPr/>
        </p:nvSpPr>
        <p:spPr>
          <a:xfrm>
            <a:off x="217714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建议增加的一些</a:t>
            </a:r>
            <a:r>
              <a:rPr lang="en-US" altLang="zh-CN" sz="1400" b="1" dirty="0">
                <a:solidFill>
                  <a:srgbClr val="FFFFFF"/>
                </a:solidFill>
              </a:rPr>
              <a:t>flag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6E421A2-0501-41CE-B134-9EB85F0A7094}"/>
              </a:ext>
            </a:extLst>
          </p:cNvPr>
          <p:cNvSpPr/>
          <p:nvPr/>
        </p:nvSpPr>
        <p:spPr>
          <a:xfrm>
            <a:off x="6361611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需要的数据源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A01935-264F-4FA5-A5C3-CE451C4D8238}"/>
              </a:ext>
            </a:extLst>
          </p:cNvPr>
          <p:cNvSpPr/>
          <p:nvPr/>
        </p:nvSpPr>
        <p:spPr>
          <a:xfrm>
            <a:off x="217713" y="4282058"/>
            <a:ext cx="10977153" cy="12478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预计能为中国销售代表提升业绩带来的价值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B91DBB03-A63D-4288-BEC1-D09E69C5CE56}"/>
              </a:ext>
            </a:extLst>
          </p:cNvPr>
          <p:cNvCxnSpPr>
            <a:stCxn id="6" idx="1"/>
            <a:endCxn id="5" idx="3"/>
          </p:cNvCxnSpPr>
          <p:nvPr/>
        </p:nvCxnSpPr>
        <p:spPr>
          <a:xfrm flipH="1">
            <a:off x="5050970" y="259951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2964B6FC-B041-4358-BAC1-FFB20F6B0430}"/>
              </a:ext>
            </a:extLst>
          </p:cNvPr>
          <p:cNvCxnSpPr/>
          <p:nvPr/>
        </p:nvCxnSpPr>
        <p:spPr>
          <a:xfrm flipH="1">
            <a:off x="5050970" y="1889762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61E885EA-F716-4FF2-941C-7E2171621CA7}"/>
              </a:ext>
            </a:extLst>
          </p:cNvPr>
          <p:cNvCxnSpPr/>
          <p:nvPr/>
        </p:nvCxnSpPr>
        <p:spPr>
          <a:xfrm flipH="1">
            <a:off x="5050970" y="342900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3658AB54-9D8E-46A2-B6E5-CCC62AAFE122}"/>
              </a:ext>
            </a:extLst>
          </p:cNvPr>
          <p:cNvSpPr/>
          <p:nvPr/>
        </p:nvSpPr>
        <p:spPr>
          <a:xfrm>
            <a:off x="5408023" y="2264229"/>
            <a:ext cx="687977" cy="2164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支撑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764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ee4pFootnotes">
            <a:extLst>
              <a:ext uri="{FF2B5EF4-FFF2-40B4-BE49-F238E27FC236}">
                <a16:creationId xmlns:a16="http://schemas.microsoft.com/office/drawing/2014/main" id="{D102EC5D-FDD0-47EA-A651-DD7C632163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350" y="6478222"/>
            <a:ext cx="10307654" cy="1384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national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DC7B6B66-2A92-4F98-9596-EB5CE35F1D11}"/>
              </a:ext>
            </a:extLst>
          </p:cNvPr>
          <p:cNvSpPr/>
          <p:nvPr/>
        </p:nvSpPr>
        <p:spPr>
          <a:xfrm>
            <a:off x="217714" y="241279"/>
            <a:ext cx="6331132" cy="675682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China Enhancement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6647CA1-95C2-4103-B5E2-3EC93581FFCC}"/>
              </a:ext>
            </a:extLst>
          </p:cNvPr>
          <p:cNvSpPr/>
          <p:nvPr/>
        </p:nvSpPr>
        <p:spPr>
          <a:xfrm>
            <a:off x="217714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建议在现有</a:t>
            </a:r>
            <a:r>
              <a:rPr lang="en-US" altLang="zh-CN" sz="1400" b="1" dirty="0">
                <a:solidFill>
                  <a:srgbClr val="FFFFFF"/>
                </a:solidFill>
              </a:rPr>
              <a:t>flag</a:t>
            </a:r>
            <a:r>
              <a:rPr lang="zh-CN" altLang="en-US" sz="1400" b="1" dirty="0">
                <a:solidFill>
                  <a:srgbClr val="FFFFFF"/>
                </a:solidFill>
              </a:rPr>
              <a:t>中增加的</a:t>
            </a:r>
            <a:r>
              <a:rPr lang="en-US" altLang="zh-CN" sz="1400" b="1" dirty="0">
                <a:solidFill>
                  <a:srgbClr val="FFFFFF"/>
                </a:solidFill>
              </a:rPr>
              <a:t>Feature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6E421A2-0501-41CE-B134-9EB85F0A7094}"/>
              </a:ext>
            </a:extLst>
          </p:cNvPr>
          <p:cNvSpPr/>
          <p:nvPr/>
        </p:nvSpPr>
        <p:spPr>
          <a:xfrm>
            <a:off x="6361611" y="1193076"/>
            <a:ext cx="4833256" cy="2812867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需要的数据源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A01935-264F-4FA5-A5C3-CE451C4D8238}"/>
              </a:ext>
            </a:extLst>
          </p:cNvPr>
          <p:cNvSpPr/>
          <p:nvPr/>
        </p:nvSpPr>
        <p:spPr>
          <a:xfrm>
            <a:off x="217713" y="4282058"/>
            <a:ext cx="10977153" cy="1247885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预计能为中国销售代表提升业绩带来的价值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B91DBB03-A63D-4288-BEC1-D09E69C5CE56}"/>
              </a:ext>
            </a:extLst>
          </p:cNvPr>
          <p:cNvCxnSpPr>
            <a:stCxn id="6" idx="1"/>
            <a:endCxn id="5" idx="3"/>
          </p:cNvCxnSpPr>
          <p:nvPr/>
        </p:nvCxnSpPr>
        <p:spPr>
          <a:xfrm flipH="1">
            <a:off x="5050970" y="259951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2964B6FC-B041-4358-BAC1-FFB20F6B0430}"/>
              </a:ext>
            </a:extLst>
          </p:cNvPr>
          <p:cNvCxnSpPr/>
          <p:nvPr/>
        </p:nvCxnSpPr>
        <p:spPr>
          <a:xfrm flipH="1">
            <a:off x="5050970" y="1889762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61E885EA-F716-4FF2-941C-7E2171621CA7}"/>
              </a:ext>
            </a:extLst>
          </p:cNvPr>
          <p:cNvCxnSpPr/>
          <p:nvPr/>
        </p:nvCxnSpPr>
        <p:spPr>
          <a:xfrm flipH="1">
            <a:off x="5050970" y="3429000"/>
            <a:ext cx="1310641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3658AB54-9D8E-46A2-B6E5-CCC62AAFE122}"/>
              </a:ext>
            </a:extLst>
          </p:cNvPr>
          <p:cNvSpPr/>
          <p:nvPr/>
        </p:nvSpPr>
        <p:spPr>
          <a:xfrm>
            <a:off x="5408023" y="2264229"/>
            <a:ext cx="687977" cy="2164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支撑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313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C1DCA1-5480-41CB-92FE-A5A7D3DBE2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5490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C1DCA1-5480-41CB-92FE-A5A7D3DBE2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AD98AF-4A4E-4509-94A7-E2BFC60F3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altLang="zh-CN" dirty="0"/>
              <a:t>Roadmap for 2024</a:t>
            </a:r>
            <a:endParaRPr lang="zh-CN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F9CA6B-C238-469A-9223-AD59B49B6E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0CB2E3-F899-4E88-B33A-4C69F193A25A}"/>
              </a:ext>
            </a:extLst>
          </p:cNvPr>
          <p:cNvSpPr txBox="1"/>
          <p:nvPr/>
        </p:nvSpPr>
        <p:spPr>
          <a:xfrm>
            <a:off x="575035" y="1791093"/>
            <a:ext cx="10312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最后，在数据评估后，根据中国的数据情况，建议的</a:t>
            </a:r>
            <a:r>
              <a:rPr lang="en-US" altLang="zh-CN" dirty="0"/>
              <a:t>NGSE China 2024 </a:t>
            </a:r>
            <a:r>
              <a:rPr lang="zh-CN" altLang="en-US" dirty="0"/>
              <a:t>落地的</a:t>
            </a:r>
            <a:r>
              <a:rPr lang="en-US" altLang="zh-CN" dirty="0"/>
              <a:t>Roadmap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0845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CE95EEF-5308-4DC5-AA03-95C3948BB714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65C00"/>
                </a:solidFill>
                <a:latin typeface="Arial"/>
              </a:rPr>
              <a:t>Pain Points during NGSE Localization in China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A451B9E0-E80F-4BEC-91BF-E2D1897ED7EC}"/>
              </a:ext>
            </a:extLst>
          </p:cNvPr>
          <p:cNvGrpSpPr/>
          <p:nvPr/>
        </p:nvGrpSpPr>
        <p:grpSpPr>
          <a:xfrm>
            <a:off x="337978" y="1022565"/>
            <a:ext cx="2456022" cy="5016500"/>
            <a:chOff x="337978" y="1022565"/>
            <a:chExt cx="2456022" cy="5016500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AB037C8E-E55B-41C4-8647-04E94C135B2C}"/>
                </a:ext>
              </a:extLst>
            </p:cNvPr>
            <p:cNvSpPr/>
            <p:nvPr/>
          </p:nvSpPr>
          <p:spPr>
            <a:xfrm>
              <a:off x="337979" y="122370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1E8EEBBD-E31E-46EA-9029-B4D08EBD7098}"/>
                </a:ext>
              </a:extLst>
            </p:cNvPr>
            <p:cNvSpPr/>
            <p:nvPr/>
          </p:nvSpPr>
          <p:spPr>
            <a:xfrm>
              <a:off x="337978" y="1022565"/>
              <a:ext cx="2456021" cy="376977"/>
            </a:xfrm>
            <a:prstGeom prst="rect">
              <a:avLst/>
            </a:prstGeom>
            <a:solidFill>
              <a:srgbClr val="00594E"/>
            </a:solidFill>
            <a:ln>
              <a:solidFill>
                <a:srgbClr val="0059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Sales Mode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A5C5B449-FACD-4621-82C9-95C8419AC8D5}"/>
              </a:ext>
            </a:extLst>
          </p:cNvPr>
          <p:cNvGrpSpPr/>
          <p:nvPr/>
        </p:nvGrpSpPr>
        <p:grpSpPr>
          <a:xfrm>
            <a:off x="3239124" y="1022565"/>
            <a:ext cx="2456022" cy="5016500"/>
            <a:chOff x="3055778" y="1035215"/>
            <a:chExt cx="2456022" cy="5016500"/>
          </a:xfrm>
        </p:grpSpPr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A1D9D671-ED47-41B9-AF3B-1FD898C5B0E0}"/>
                </a:ext>
              </a:extLst>
            </p:cNvPr>
            <p:cNvSpPr/>
            <p:nvPr/>
          </p:nvSpPr>
          <p:spPr>
            <a:xfrm>
              <a:off x="3055779" y="123635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3F23ED33-AE98-4632-90E5-2E1D006D7C9B}"/>
                </a:ext>
              </a:extLst>
            </p:cNvPr>
            <p:cNvSpPr/>
            <p:nvPr/>
          </p:nvSpPr>
          <p:spPr>
            <a:xfrm>
              <a:off x="3055778" y="1035215"/>
              <a:ext cx="2456021" cy="376977"/>
            </a:xfrm>
            <a:prstGeom prst="rect">
              <a:avLst/>
            </a:prstGeom>
            <a:solidFill>
              <a:srgbClr val="01516F"/>
            </a:solidFill>
            <a:ln>
              <a:solidFill>
                <a:srgbClr val="0151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Campaign Mode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1D1A86AF-125A-4849-BC0A-17A0B00AE8EA}"/>
              </a:ext>
            </a:extLst>
          </p:cNvPr>
          <p:cNvGrpSpPr/>
          <p:nvPr/>
        </p:nvGrpSpPr>
        <p:grpSpPr>
          <a:xfrm>
            <a:off x="6140270" y="1022565"/>
            <a:ext cx="2456022" cy="5016500"/>
            <a:chOff x="5790217" y="1035215"/>
            <a:chExt cx="2456022" cy="5016500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347F051D-9D85-450B-9E3E-33818F8C27C6}"/>
                </a:ext>
              </a:extLst>
            </p:cNvPr>
            <p:cNvSpPr/>
            <p:nvPr/>
          </p:nvSpPr>
          <p:spPr>
            <a:xfrm>
              <a:off x="5790218" y="123635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9AC474AE-CBE8-4717-8E6E-E471D928BA40}"/>
                </a:ext>
              </a:extLst>
            </p:cNvPr>
            <p:cNvSpPr/>
            <p:nvPr/>
          </p:nvSpPr>
          <p:spPr>
            <a:xfrm>
              <a:off x="5790217" y="1035215"/>
              <a:ext cx="2456021" cy="376977"/>
            </a:xfrm>
            <a:prstGeom prst="rect">
              <a:avLst/>
            </a:prstGeom>
            <a:solidFill>
              <a:srgbClr val="F65C00"/>
            </a:solidFill>
            <a:ln>
              <a:solidFill>
                <a:srgbClr val="F65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Business System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1371E1CF-B89C-4380-A8C0-957A9D2EA834}"/>
              </a:ext>
            </a:extLst>
          </p:cNvPr>
          <p:cNvGrpSpPr/>
          <p:nvPr/>
        </p:nvGrpSpPr>
        <p:grpSpPr>
          <a:xfrm>
            <a:off x="9041417" y="1022565"/>
            <a:ext cx="2456022" cy="5016500"/>
            <a:chOff x="8508017" y="1047865"/>
            <a:chExt cx="2456022" cy="5016500"/>
          </a:xfrm>
        </p:grpSpPr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FA1488C6-C865-45A5-A74B-FEC12F714648}"/>
                </a:ext>
              </a:extLst>
            </p:cNvPr>
            <p:cNvSpPr/>
            <p:nvPr/>
          </p:nvSpPr>
          <p:spPr>
            <a:xfrm>
              <a:off x="8508018" y="1249004"/>
              <a:ext cx="2456021" cy="48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DF0C622F-65BC-4CDE-AC3F-A1B891C9DD4F}"/>
                </a:ext>
              </a:extLst>
            </p:cNvPr>
            <p:cNvSpPr/>
            <p:nvPr/>
          </p:nvSpPr>
          <p:spPr>
            <a:xfrm>
              <a:off x="8508017" y="1047865"/>
              <a:ext cx="2456021" cy="376977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Data Quality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矩形 25">
            <a:extLst>
              <a:ext uri="{FF2B5EF4-FFF2-40B4-BE49-F238E27FC236}">
                <a16:creationId xmlns:a16="http://schemas.microsoft.com/office/drawing/2014/main" id="{DC7B6B66-2A92-4F98-9596-EB5CE35F1D11}"/>
              </a:ext>
            </a:extLst>
          </p:cNvPr>
          <p:cNvSpPr/>
          <p:nvPr/>
        </p:nvSpPr>
        <p:spPr>
          <a:xfrm>
            <a:off x="1468719" y="3429000"/>
            <a:ext cx="9343102" cy="2142864"/>
          </a:xfrm>
          <a:prstGeom prst="rect">
            <a:avLst/>
          </a:prstGeom>
          <a:solidFill>
            <a:srgbClr val="C00000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zh-CN" altLang="en-US" sz="1400" b="1" dirty="0">
                <a:solidFill>
                  <a:srgbClr val="FFFFFF"/>
                </a:solidFill>
              </a:rPr>
              <a:t>痛点</a:t>
            </a:r>
            <a:r>
              <a:rPr lang="en-US" altLang="zh-CN" sz="1400" b="1" dirty="0">
                <a:solidFill>
                  <a:srgbClr val="FFFFFF"/>
                </a:solidFill>
              </a:rPr>
              <a:t>/</a:t>
            </a:r>
            <a:r>
              <a:rPr lang="zh-CN" altLang="en-US" sz="1400" b="1" dirty="0">
                <a:solidFill>
                  <a:srgbClr val="FFFFFF"/>
                </a:solidFill>
              </a:rPr>
              <a:t>需要长时间</a:t>
            </a:r>
            <a:r>
              <a:rPr lang="en-US" altLang="zh-CN" sz="1400" b="1" dirty="0">
                <a:solidFill>
                  <a:srgbClr val="FFFFFF"/>
                </a:solidFill>
              </a:rPr>
              <a:t>assessment</a:t>
            </a:r>
            <a:r>
              <a:rPr lang="zh-CN" altLang="en-US" sz="1400" b="1" dirty="0">
                <a:solidFill>
                  <a:srgbClr val="FFFFFF"/>
                </a:solidFill>
              </a:rPr>
              <a:t>的原因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销售模式不同（</a:t>
            </a:r>
            <a:r>
              <a:rPr lang="en-US" altLang="zh-CN" sz="1400" b="1" dirty="0">
                <a:solidFill>
                  <a:srgbClr val="FFFFFF"/>
                </a:solidFill>
              </a:rPr>
              <a:t>DTC vs Indirect Sales</a:t>
            </a:r>
            <a:r>
              <a:rPr lang="zh-CN" altLang="en-US" sz="1400" b="1" dirty="0">
                <a:solidFill>
                  <a:srgbClr val="FFFFFF"/>
                </a:solidFill>
              </a:rPr>
              <a:t>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业务开展模式不同（</a:t>
            </a:r>
            <a:r>
              <a:rPr lang="en-US" altLang="zh-CN" sz="1400" b="1" dirty="0" err="1">
                <a:solidFill>
                  <a:srgbClr val="FFFFFF"/>
                </a:solidFill>
              </a:rPr>
              <a:t>eg</a:t>
            </a:r>
            <a:r>
              <a:rPr lang="en-US" altLang="zh-CN" sz="1400" b="1" dirty="0">
                <a:solidFill>
                  <a:srgbClr val="FFFFFF"/>
                </a:solidFill>
              </a:rPr>
              <a:t> </a:t>
            </a:r>
            <a:r>
              <a:rPr lang="zh-CN" altLang="en-US" sz="1400" b="1" dirty="0">
                <a:solidFill>
                  <a:srgbClr val="FFFFFF"/>
                </a:solidFill>
              </a:rPr>
              <a:t>市场活动玩法不一样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使用的业务系统不同（</a:t>
            </a:r>
            <a:r>
              <a:rPr lang="en-US" altLang="zh-CN" sz="1400" b="1" dirty="0">
                <a:solidFill>
                  <a:srgbClr val="FFFFFF"/>
                </a:solidFill>
              </a:rPr>
              <a:t>SAP vs </a:t>
            </a:r>
            <a:r>
              <a:rPr lang="en-US" altLang="zh-CN" sz="1400" b="1" dirty="0" err="1">
                <a:solidFill>
                  <a:srgbClr val="FFFFFF"/>
                </a:solidFill>
              </a:rPr>
              <a:t>ufida&amp;QTData</a:t>
            </a:r>
            <a:r>
              <a:rPr lang="zh-CN" altLang="en-US" sz="1400" b="1" dirty="0">
                <a:solidFill>
                  <a:srgbClr val="FFFFFF"/>
                </a:solidFill>
              </a:rPr>
              <a:t>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工作模式不同（导致</a:t>
            </a:r>
            <a:r>
              <a:rPr lang="en-US" altLang="zh-CN" sz="1400" b="1" dirty="0">
                <a:solidFill>
                  <a:srgbClr val="FFFFFF"/>
                </a:solidFill>
              </a:rPr>
              <a:t>Touchpoint</a:t>
            </a:r>
            <a:r>
              <a:rPr lang="zh-CN" altLang="en-US" sz="1400" b="1" dirty="0">
                <a:solidFill>
                  <a:srgbClr val="FFFFFF"/>
                </a:solidFill>
              </a:rPr>
              <a:t>使用率不高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pPr marL="342900" indent="-342900">
              <a:buAutoNum type="arabicPeriod"/>
            </a:pPr>
            <a:r>
              <a:rPr lang="zh-CN" altLang="en-US" sz="1400" b="1" dirty="0">
                <a:solidFill>
                  <a:srgbClr val="FFFFFF"/>
                </a:solidFill>
              </a:rPr>
              <a:t>数据质量未知（</a:t>
            </a:r>
            <a:r>
              <a:rPr lang="en-US" altLang="zh-CN" sz="1400" b="1" dirty="0" err="1">
                <a:solidFill>
                  <a:srgbClr val="FFFFFF"/>
                </a:solidFill>
              </a:rPr>
              <a:t>udesk</a:t>
            </a:r>
            <a:r>
              <a:rPr lang="zh-CN" altLang="en-US" sz="1400" b="1" dirty="0">
                <a:solidFill>
                  <a:srgbClr val="FFFFFF"/>
                </a:solidFill>
              </a:rPr>
              <a:t>数据需清洗后使用）</a:t>
            </a:r>
            <a:endParaRPr lang="en-US" altLang="zh-CN" sz="1400" b="1" dirty="0">
              <a:solidFill>
                <a:srgbClr val="FFFFFF"/>
              </a:solidFill>
            </a:endParaRPr>
          </a:p>
          <a:p>
            <a:endParaRPr lang="en-US" altLang="zh-CN" sz="1400" b="1" dirty="0">
              <a:solidFill>
                <a:srgbClr val="FFFFFF"/>
              </a:solidFill>
            </a:endParaRPr>
          </a:p>
          <a:p>
            <a:r>
              <a:rPr lang="zh-CN" altLang="en-US" sz="1400" b="1" dirty="0">
                <a:solidFill>
                  <a:srgbClr val="FFFFFF"/>
                </a:solidFill>
              </a:rPr>
              <a:t>需要评估现有数据是否满足</a:t>
            </a:r>
            <a:r>
              <a:rPr lang="en-US" altLang="zh-CN" sz="1400" b="1" dirty="0">
                <a:solidFill>
                  <a:srgbClr val="FFFFFF"/>
                </a:solidFill>
              </a:rPr>
              <a:t>NGSE</a:t>
            </a:r>
            <a:r>
              <a:rPr lang="zh-CN" altLang="en-US" sz="1400" b="1" dirty="0">
                <a:solidFill>
                  <a:srgbClr val="FFFFFF"/>
                </a:solidFill>
              </a:rPr>
              <a:t>要求</a:t>
            </a:r>
            <a:r>
              <a:rPr lang="en-US" altLang="zh-CN" sz="1400" b="1" dirty="0">
                <a:solidFill>
                  <a:srgbClr val="FFFFFF"/>
                </a:solidFill>
              </a:rPr>
              <a:t>&amp;</a:t>
            </a:r>
            <a:r>
              <a:rPr lang="zh-CN" altLang="en-US" sz="1400" b="1" dirty="0">
                <a:solidFill>
                  <a:srgbClr val="FFFFFF"/>
                </a:solidFill>
              </a:rPr>
              <a:t>是否需要引入新的数据</a:t>
            </a:r>
            <a:endParaRPr lang="en-US" altLang="zh-CN" sz="1400" b="1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980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Overall Roadmap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3949F0AF-64A0-4B4B-8D71-9389762CD225}"/>
              </a:ext>
            </a:extLst>
          </p:cNvPr>
          <p:cNvGrpSpPr/>
          <p:nvPr/>
        </p:nvGrpSpPr>
        <p:grpSpPr>
          <a:xfrm>
            <a:off x="4132456" y="1181100"/>
            <a:ext cx="4315575" cy="2171700"/>
            <a:chOff x="4303084" y="1104900"/>
            <a:chExt cx="4315575" cy="2171700"/>
          </a:xfrm>
        </p:grpSpPr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0FFEEC2C-AA49-48BB-AD91-E9F385225BCF}"/>
                </a:ext>
              </a:extLst>
            </p:cNvPr>
            <p:cNvGrpSpPr/>
            <p:nvPr/>
          </p:nvGrpSpPr>
          <p:grpSpPr>
            <a:xfrm>
              <a:off x="4303084" y="1104900"/>
              <a:ext cx="4315575" cy="2171700"/>
              <a:chOff x="4518816" y="1104900"/>
              <a:chExt cx="3530368" cy="2171700"/>
            </a:xfrm>
          </p:grpSpPr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CEFD8A37-3FA5-402C-B574-A3DCE8C55657}"/>
                  </a:ext>
                </a:extLst>
              </p:cNvPr>
              <p:cNvSpPr/>
              <p:nvPr/>
            </p:nvSpPr>
            <p:spPr>
              <a:xfrm>
                <a:off x="4518816" y="1306039"/>
                <a:ext cx="3530368" cy="197056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B3301453-ADCB-4F28-A3BE-70841EE84978}"/>
                  </a:ext>
                </a:extLst>
              </p:cNvPr>
              <p:cNvSpPr/>
              <p:nvPr/>
            </p:nvSpPr>
            <p:spPr>
              <a:xfrm>
                <a:off x="4518816" y="1104900"/>
                <a:ext cx="3530368" cy="509296"/>
              </a:xfrm>
              <a:prstGeom prst="rect">
                <a:avLst/>
              </a:prstGeom>
              <a:solidFill>
                <a:srgbClr val="00594E"/>
              </a:solidFill>
              <a:ln>
                <a:solidFill>
                  <a:srgbClr val="0059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>
                    <a:latin typeface="Arial" panose="020B0604020202020204" pitchFamily="34" charset="0"/>
                    <a:cs typeface="Arial" panose="020B0604020202020204" pitchFamily="34" charset="0"/>
                  </a:rPr>
                  <a:t>Data Classification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" name="矩形: 圆角 28">
              <a:extLst>
                <a:ext uri="{FF2B5EF4-FFF2-40B4-BE49-F238E27FC236}">
                  <a16:creationId xmlns:a16="http://schemas.microsoft.com/office/drawing/2014/main" id="{C765BC2C-A92B-4E96-A784-014E4F40DBE9}"/>
                </a:ext>
              </a:extLst>
            </p:cNvPr>
            <p:cNvSpPr/>
            <p:nvPr/>
          </p:nvSpPr>
          <p:spPr>
            <a:xfrm>
              <a:off x="4526883" y="1784834"/>
              <a:ext cx="82715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les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841D2DFF-0696-461F-8322-A34DD02125A1}"/>
                </a:ext>
              </a:extLst>
            </p:cNvPr>
            <p:cNvSpPr/>
            <p:nvPr/>
          </p:nvSpPr>
          <p:spPr>
            <a:xfrm>
              <a:off x="5550072" y="1784834"/>
              <a:ext cx="134051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ter Data</a:t>
              </a:r>
            </a:p>
          </p:txBody>
        </p:sp>
        <p:sp>
          <p:nvSpPr>
            <p:cNvPr id="31" name="矩形: 圆角 30">
              <a:extLst>
                <a:ext uri="{FF2B5EF4-FFF2-40B4-BE49-F238E27FC236}">
                  <a16:creationId xmlns:a16="http://schemas.microsoft.com/office/drawing/2014/main" id="{4F75DEE6-12CA-422D-8856-671C91CBDA1B}"/>
                </a:ext>
              </a:extLst>
            </p:cNvPr>
            <p:cNvSpPr/>
            <p:nvPr/>
          </p:nvSpPr>
          <p:spPr>
            <a:xfrm>
              <a:off x="4526883" y="2304926"/>
              <a:ext cx="82715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ll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37743A42-62ED-4956-8FFE-7E519B194871}"/>
                </a:ext>
              </a:extLst>
            </p:cNvPr>
            <p:cNvSpPr/>
            <p:nvPr/>
          </p:nvSpPr>
          <p:spPr>
            <a:xfrm>
              <a:off x="5550072" y="2304926"/>
              <a:ext cx="1340517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mpaign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060CB2C-463C-403B-B051-07EE2ED53DFA}"/>
                </a:ext>
              </a:extLst>
            </p:cNvPr>
            <p:cNvSpPr/>
            <p:nvPr/>
          </p:nvSpPr>
          <p:spPr>
            <a:xfrm>
              <a:off x="7174835" y="1784834"/>
              <a:ext cx="1332669" cy="48199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 Research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4FB1E7DF-A62B-4BA8-A80C-1CBD5295ACCF}"/>
                </a:ext>
              </a:extLst>
            </p:cNvPr>
            <p:cNvSpPr/>
            <p:nvPr/>
          </p:nvSpPr>
          <p:spPr>
            <a:xfrm>
              <a:off x="7174835" y="2399364"/>
              <a:ext cx="1332000" cy="223878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…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858A8FED-18C7-4453-8D30-1276FAE1B640}"/>
                </a:ext>
              </a:extLst>
            </p:cNvPr>
            <p:cNvSpPr txBox="1"/>
            <p:nvPr/>
          </p:nvSpPr>
          <p:spPr>
            <a:xfrm>
              <a:off x="4372985" y="2734721"/>
              <a:ext cx="413385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lassify Tables into Different </a:t>
              </a:r>
              <a:r>
                <a:rPr lang="en-US" altLang="zh-CN" sz="1200" b="1" dirty="0">
                  <a:solidFill>
                    <a:srgbClr val="00594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Modu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onfirm Assessment </a:t>
              </a:r>
              <a:r>
                <a:rPr lang="en-US" altLang="zh-CN" sz="1200" b="1" dirty="0">
                  <a:solidFill>
                    <a:srgbClr val="00594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ority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of Data Modules</a:t>
              </a:r>
              <a:endPara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00E0ED75-B1C7-414F-A7B8-097854E4A9DD}"/>
              </a:ext>
            </a:extLst>
          </p:cNvPr>
          <p:cNvGrpSpPr/>
          <p:nvPr/>
        </p:nvGrpSpPr>
        <p:grpSpPr>
          <a:xfrm>
            <a:off x="350678" y="1181100"/>
            <a:ext cx="3289010" cy="2138148"/>
            <a:chOff x="580778" y="1138452"/>
            <a:chExt cx="3289010" cy="2138148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90718E9B-DF31-4E43-9AF8-7D719FCD6F76}"/>
                </a:ext>
              </a:extLst>
            </p:cNvPr>
            <p:cNvGrpSpPr/>
            <p:nvPr/>
          </p:nvGrpSpPr>
          <p:grpSpPr>
            <a:xfrm>
              <a:off x="580778" y="1138452"/>
              <a:ext cx="3246561" cy="2138148"/>
              <a:chOff x="449139" y="1104900"/>
              <a:chExt cx="3594101" cy="2138148"/>
            </a:xfrm>
          </p:grpSpPr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527B5A84-89E5-4133-B7BA-9D7EE1D14A6A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93700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17A4E7FF-0C63-4138-90DA-A6072268A183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F65C00"/>
              </a:solidFill>
              <a:ln>
                <a:solidFill>
                  <a:srgbClr val="F65C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Confirm Data Scope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26D141A3-196C-43AA-A96D-1A11A81F61D7}"/>
                </a:ext>
              </a:extLst>
            </p:cNvPr>
            <p:cNvSpPr/>
            <p:nvPr/>
          </p:nvSpPr>
          <p:spPr>
            <a:xfrm>
              <a:off x="850900" y="1775869"/>
              <a:ext cx="2654299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 % From Global DDP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id="{24A7259C-C195-4514-B5A1-C3FDFE7AE88B}"/>
                </a:ext>
              </a:extLst>
            </p:cNvPr>
            <p:cNvSpPr/>
            <p:nvPr/>
          </p:nvSpPr>
          <p:spPr>
            <a:xfrm>
              <a:off x="850899" y="2214498"/>
              <a:ext cx="2654299" cy="3183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 % From Touchpoint</a:t>
              </a:r>
              <a:endPara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F31009B4-C205-46C5-893B-E45B9CB3D048}"/>
                </a:ext>
              </a:extLst>
            </p:cNvPr>
            <p:cNvSpPr txBox="1"/>
            <p:nvPr/>
          </p:nvSpPr>
          <p:spPr>
            <a:xfrm>
              <a:off x="623229" y="2611504"/>
              <a:ext cx="324655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onfirm</a:t>
              </a:r>
              <a:r>
                <a:rPr lang="zh-CN" alt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with</a:t>
              </a:r>
              <a:r>
                <a:rPr lang="zh-CN" alt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Global NGSE Team about 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Source System and Data Tab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Target -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build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all tables on China DDP </a:t>
              </a: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D5476E4F-87C0-469B-AD87-00D7C6CC976F}"/>
              </a:ext>
            </a:extLst>
          </p:cNvPr>
          <p:cNvGrpSpPr/>
          <p:nvPr/>
        </p:nvGrpSpPr>
        <p:grpSpPr>
          <a:xfrm>
            <a:off x="8940800" y="1181100"/>
            <a:ext cx="2719443" cy="2171700"/>
            <a:chOff x="8940800" y="1104900"/>
            <a:chExt cx="2719443" cy="2171700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17079904-A9F3-42AD-9B4A-8AF14C02A617}"/>
                </a:ext>
              </a:extLst>
            </p:cNvPr>
            <p:cNvGrpSpPr/>
            <p:nvPr/>
          </p:nvGrpSpPr>
          <p:grpSpPr>
            <a:xfrm>
              <a:off x="8940801" y="1104900"/>
              <a:ext cx="2719442" cy="2171700"/>
              <a:chOff x="449139" y="1104900"/>
              <a:chExt cx="3594101" cy="2171700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64B21DA6-1E10-4A23-8AB7-DE2E0F4208B6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97056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1CBA0A7D-62F5-4888-8291-2FF1E524AF3B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01516F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ystem Comparison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67D2E170-0BE6-4126-9753-108209972AAD}"/>
                </a:ext>
              </a:extLst>
            </p:cNvPr>
            <p:cNvSpPr txBox="1"/>
            <p:nvPr/>
          </p:nvSpPr>
          <p:spPr>
            <a:xfrm>
              <a:off x="8940800" y="1845233"/>
              <a:ext cx="2719442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Sales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SAP vs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Ufida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+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QTData</a:t>
              </a:r>
              <a:endParaRPr lang="en-US" altLang="zh-CN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Call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 Touchpoint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CRM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Wechat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vs Touchpoint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Campaign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en-US" altLang="zh-CN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Wechat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Mini Program vs Touchpoint</a:t>
              </a:r>
            </a:p>
            <a:p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…….</a:t>
              </a:r>
            </a:p>
          </p:txBody>
        </p:sp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E411FD42-08E7-424B-8347-5F9E822B16F8}"/>
              </a:ext>
            </a:extLst>
          </p:cNvPr>
          <p:cNvGrpSpPr/>
          <p:nvPr/>
        </p:nvGrpSpPr>
        <p:grpSpPr>
          <a:xfrm>
            <a:off x="350678" y="3967577"/>
            <a:ext cx="3246560" cy="1940072"/>
            <a:chOff x="580778" y="3726277"/>
            <a:chExt cx="3246560" cy="1940072"/>
          </a:xfrm>
        </p:grpSpPr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A1ED9C9A-A1D3-4935-9A56-E3AE300BE044}"/>
                </a:ext>
              </a:extLst>
            </p:cNvPr>
            <p:cNvGrpSpPr/>
            <p:nvPr/>
          </p:nvGrpSpPr>
          <p:grpSpPr>
            <a:xfrm>
              <a:off x="580778" y="3726277"/>
              <a:ext cx="3246560" cy="1940072"/>
              <a:chOff x="449139" y="1104900"/>
              <a:chExt cx="3594101" cy="1940072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9EAF48D2-D717-4081-8437-FC130D2331A3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7389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580BA687-EFAD-4134-81F0-1E581EF9F9E7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00594E"/>
              </a:solidFill>
              <a:ln>
                <a:solidFill>
                  <a:srgbClr val="00594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Data Quality Check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984DA911-30DD-4210-9877-40EED38A6C0A}"/>
                </a:ext>
              </a:extLst>
            </p:cNvPr>
            <p:cNvSpPr txBox="1"/>
            <p:nvPr/>
          </p:nvSpPr>
          <p:spPr>
            <a:xfrm>
              <a:off x="676913" y="4331457"/>
              <a:ext cx="282828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heck Data Quality from Different Dimensions to Make Sure China DDP Provide Correct Data to NGSE</a:t>
              </a: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2A0DB230-8F2C-4F84-BBE4-0E7FDC0FA203}"/>
              </a:ext>
            </a:extLst>
          </p:cNvPr>
          <p:cNvGrpSpPr/>
          <p:nvPr/>
        </p:nvGrpSpPr>
        <p:grpSpPr>
          <a:xfrm>
            <a:off x="4132456" y="3967577"/>
            <a:ext cx="3612999" cy="1940072"/>
            <a:chOff x="4290885" y="3726277"/>
            <a:chExt cx="3612999" cy="1940072"/>
          </a:xfrm>
        </p:grpSpPr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8A856DEA-2C06-4883-8162-781F7E38D4A7}"/>
                </a:ext>
              </a:extLst>
            </p:cNvPr>
            <p:cNvGrpSpPr/>
            <p:nvPr/>
          </p:nvGrpSpPr>
          <p:grpSpPr>
            <a:xfrm>
              <a:off x="4290885" y="3726277"/>
              <a:ext cx="3594101" cy="1940072"/>
              <a:chOff x="449139" y="1104900"/>
              <a:chExt cx="3594101" cy="1940072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5683DFD2-170B-4EDB-A9B2-D87F6D2935EF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7389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9E0BF0D0-B0A6-4880-BDB3-AFAD2D880421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01516F"/>
              </a:solidFill>
              <a:ln>
                <a:solidFill>
                  <a:schemeClr val="accent1">
                    <a:shade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Data Cleansing and Merge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1A763A64-31BF-46CA-8A4F-95A43DA2FB06}"/>
                </a:ext>
              </a:extLst>
            </p:cNvPr>
            <p:cNvSpPr txBox="1"/>
            <p:nvPr/>
          </p:nvSpPr>
          <p:spPr>
            <a:xfrm>
              <a:off x="4303429" y="4331457"/>
              <a:ext cx="3600455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solidFill>
                    <a:srgbClr val="0151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e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Necessary Data Source to China DDP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solidFill>
                    <a:srgbClr val="0151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Transformation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 to Meet Required Format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b="1" dirty="0">
                  <a:solidFill>
                    <a:srgbClr val="0151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rge Data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to Meet Required Structure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Generate Sample Data to Final Result Tables</a:t>
              </a:r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F31E6783-F080-493B-8FB5-A7D516FC4BBC}"/>
              </a:ext>
            </a:extLst>
          </p:cNvPr>
          <p:cNvGrpSpPr/>
          <p:nvPr/>
        </p:nvGrpSpPr>
        <p:grpSpPr>
          <a:xfrm>
            <a:off x="8251197" y="3967577"/>
            <a:ext cx="3491163" cy="1940072"/>
            <a:chOff x="8251197" y="3726277"/>
            <a:chExt cx="3491163" cy="1940072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84E4270C-F866-4556-AE5A-9B60E7926B63}"/>
                </a:ext>
              </a:extLst>
            </p:cNvPr>
            <p:cNvGrpSpPr/>
            <p:nvPr/>
          </p:nvGrpSpPr>
          <p:grpSpPr>
            <a:xfrm>
              <a:off x="8251197" y="3726277"/>
              <a:ext cx="3409045" cy="1940072"/>
              <a:chOff x="449139" y="1104900"/>
              <a:chExt cx="3594101" cy="1940072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EF4A658C-3892-49B7-BCD4-BE88380C4910}"/>
                  </a:ext>
                </a:extLst>
              </p:cNvPr>
              <p:cNvSpPr/>
              <p:nvPr/>
            </p:nvSpPr>
            <p:spPr>
              <a:xfrm>
                <a:off x="449140" y="1306039"/>
                <a:ext cx="3594100" cy="17389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06A9EAEB-121A-47D0-9E63-C0658C65BC1D}"/>
                  </a:ext>
                </a:extLst>
              </p:cNvPr>
              <p:cNvSpPr/>
              <p:nvPr/>
            </p:nvSpPr>
            <p:spPr>
              <a:xfrm>
                <a:off x="449139" y="1104900"/>
                <a:ext cx="3594100" cy="509296"/>
              </a:xfrm>
              <a:prstGeom prst="rect">
                <a:avLst/>
              </a:prstGeom>
              <a:solidFill>
                <a:srgbClr val="F65C00"/>
              </a:solidFill>
              <a:ln>
                <a:solidFill>
                  <a:srgbClr val="F65C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Attribute Comparison</a:t>
                </a:r>
                <a:endParaRPr lang="zh-CN" altLang="en-US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EFF61B5A-4F26-4841-9388-36E6D6B5748B}"/>
                </a:ext>
              </a:extLst>
            </p:cNvPr>
            <p:cNvSpPr txBox="1"/>
            <p:nvPr/>
          </p:nvSpPr>
          <p:spPr>
            <a:xfrm>
              <a:off x="8333315" y="4331457"/>
              <a:ext cx="3409045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For NGSE needed Data Tables, Find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rresponding Tables on China DDP </a:t>
              </a:r>
              <a:endParaRPr lang="en-US" altLang="zh-CN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Compare </a:t>
              </a:r>
              <a:r>
                <a:rPr lang="en-US" altLang="zh-CN" sz="1200" b="1" dirty="0">
                  <a:solidFill>
                    <a:srgbClr val="F65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tribute Difference </a:t>
              </a:r>
              <a:r>
                <a:rPr lang="en-US" altLang="zh-CN" sz="1200" dirty="0">
                  <a:latin typeface="Arial" panose="020B0604020202020204" pitchFamily="34" charset="0"/>
                  <a:cs typeface="Arial" panose="020B0604020202020204" pitchFamily="34" charset="0"/>
                </a:rPr>
                <a:t>between Current China Tables and NGSE needed Tables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n-US" altLang="zh-CN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8" name="箭头: 右 47">
            <a:extLst>
              <a:ext uri="{FF2B5EF4-FFF2-40B4-BE49-F238E27FC236}">
                <a16:creationId xmlns:a16="http://schemas.microsoft.com/office/drawing/2014/main" id="{1F502ED0-E410-4EEB-8ACD-CF89D0118293}"/>
              </a:ext>
            </a:extLst>
          </p:cNvPr>
          <p:cNvSpPr/>
          <p:nvPr/>
        </p:nvSpPr>
        <p:spPr>
          <a:xfrm>
            <a:off x="3652495" y="2214528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箭头: 右 49">
            <a:extLst>
              <a:ext uri="{FF2B5EF4-FFF2-40B4-BE49-F238E27FC236}">
                <a16:creationId xmlns:a16="http://schemas.microsoft.com/office/drawing/2014/main" id="{A93937B3-EEC0-4CB4-951B-F51F00B3FBCC}"/>
              </a:ext>
            </a:extLst>
          </p:cNvPr>
          <p:cNvSpPr/>
          <p:nvPr/>
        </p:nvSpPr>
        <p:spPr>
          <a:xfrm>
            <a:off x="8493732" y="2214528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箭头: 右 50">
            <a:extLst>
              <a:ext uri="{FF2B5EF4-FFF2-40B4-BE49-F238E27FC236}">
                <a16:creationId xmlns:a16="http://schemas.microsoft.com/office/drawing/2014/main" id="{E407A1E4-34E4-4981-9EFB-ED87FDB31C0D}"/>
              </a:ext>
            </a:extLst>
          </p:cNvPr>
          <p:cNvSpPr/>
          <p:nvPr/>
        </p:nvSpPr>
        <p:spPr>
          <a:xfrm rot="5400000">
            <a:off x="9821676" y="3480489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箭头: 右 51">
            <a:extLst>
              <a:ext uri="{FF2B5EF4-FFF2-40B4-BE49-F238E27FC236}">
                <a16:creationId xmlns:a16="http://schemas.microsoft.com/office/drawing/2014/main" id="{5092A29D-32C7-49E3-80E3-3A237EC7B061}"/>
              </a:ext>
            </a:extLst>
          </p:cNvPr>
          <p:cNvSpPr/>
          <p:nvPr/>
        </p:nvSpPr>
        <p:spPr>
          <a:xfrm rot="10800000">
            <a:off x="7776433" y="4794336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D77FEBA2-15DF-4D3B-B7E3-579E03921D5B}"/>
              </a:ext>
            </a:extLst>
          </p:cNvPr>
          <p:cNvSpPr/>
          <p:nvPr/>
        </p:nvSpPr>
        <p:spPr>
          <a:xfrm rot="10800000">
            <a:off x="3636921" y="4794336"/>
            <a:ext cx="432321" cy="360934"/>
          </a:xfrm>
          <a:prstGeom prst="right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752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NGSE Intl Data Flow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F63EC4AA-CBD2-4318-85A2-7FA05E2564EF}"/>
              </a:ext>
            </a:extLst>
          </p:cNvPr>
          <p:cNvGrpSpPr/>
          <p:nvPr/>
        </p:nvGrpSpPr>
        <p:grpSpPr>
          <a:xfrm>
            <a:off x="6783908" y="2880263"/>
            <a:ext cx="1223744" cy="1150367"/>
            <a:chOff x="4729188" y="2544555"/>
            <a:chExt cx="1223744" cy="1150367"/>
          </a:xfrm>
        </p:grpSpPr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56408961-264D-4600-926C-CBBE7EE360A7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流程图: 磁盘 23">
              <a:extLst>
                <a:ext uri="{FF2B5EF4-FFF2-40B4-BE49-F238E27FC236}">
                  <a16:creationId xmlns:a16="http://schemas.microsoft.com/office/drawing/2014/main" id="{EC4A28D7-4C0D-454C-A217-EA12131C3586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37CE6F3B-8B19-408D-9FEC-B3DA95F28443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DNA – Data</a:t>
              </a:r>
            </a:p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(ADLS Gen2)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16547F8F-B229-4728-B24B-EF310580B3D0}"/>
              </a:ext>
            </a:extLst>
          </p:cNvPr>
          <p:cNvSpPr txBox="1"/>
          <p:nvPr/>
        </p:nvSpPr>
        <p:spPr>
          <a:xfrm flipH="1">
            <a:off x="6783908" y="4130909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26 Tables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5E583AD6-AF85-4D64-9A2D-9EE034C6EC02}"/>
              </a:ext>
            </a:extLst>
          </p:cNvPr>
          <p:cNvGrpSpPr/>
          <p:nvPr/>
        </p:nvGrpSpPr>
        <p:grpSpPr>
          <a:xfrm>
            <a:off x="9222308" y="2880263"/>
            <a:ext cx="1223744" cy="1150367"/>
            <a:chOff x="4729188" y="2544555"/>
            <a:chExt cx="1223744" cy="1150367"/>
          </a:xfrm>
        </p:grpSpPr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39ACA0E8-5662-494A-903A-0F3E10DBC00E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流程图: 磁盘 28">
              <a:extLst>
                <a:ext uri="{FF2B5EF4-FFF2-40B4-BE49-F238E27FC236}">
                  <a16:creationId xmlns:a16="http://schemas.microsoft.com/office/drawing/2014/main" id="{8D99DE38-D434-4879-89F3-E85A43328B93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F75274FC-2DF1-4130-AD79-F197A3BDCA97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N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GSE AI engine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C0154F8F-2048-46B7-BC96-D328D343680C}"/>
              </a:ext>
            </a:extLst>
          </p:cNvPr>
          <p:cNvGrpSpPr/>
          <p:nvPr/>
        </p:nvGrpSpPr>
        <p:grpSpPr>
          <a:xfrm>
            <a:off x="4130904" y="1927049"/>
            <a:ext cx="1223744" cy="1150367"/>
            <a:chOff x="4729188" y="2544555"/>
            <a:chExt cx="1223744" cy="1150367"/>
          </a:xfrm>
        </p:grpSpPr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D0648A83-E878-459B-92FC-4CFEB5143A84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流程图: 磁盘 33">
              <a:extLst>
                <a:ext uri="{FF2B5EF4-FFF2-40B4-BE49-F238E27FC236}">
                  <a16:creationId xmlns:a16="http://schemas.microsoft.com/office/drawing/2014/main" id="{FB7D92CF-6C2D-4E55-878D-580880DEA284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A03FCAC3-9D18-4DD8-917E-1236A9F2DD2B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Global DDP DW Tables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4955D8CF-A05B-42C0-ACF8-D67AE339E5AF}"/>
              </a:ext>
            </a:extLst>
          </p:cNvPr>
          <p:cNvGrpSpPr/>
          <p:nvPr/>
        </p:nvGrpSpPr>
        <p:grpSpPr>
          <a:xfrm>
            <a:off x="4130904" y="3678837"/>
            <a:ext cx="1223744" cy="1150367"/>
            <a:chOff x="4729188" y="2544555"/>
            <a:chExt cx="1223744" cy="1150367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E86A0054-A553-4540-8FFD-C49C000D92A3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流程图: 磁盘 37">
              <a:extLst>
                <a:ext uri="{FF2B5EF4-FFF2-40B4-BE49-F238E27FC236}">
                  <a16:creationId xmlns:a16="http://schemas.microsoft.com/office/drawing/2014/main" id="{898106FA-24FB-4DD5-91CC-2805233952BB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B5081FD0-23C5-437A-95EC-C2F753F19A49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Global DDP ODS Tables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588C58BA-B6C9-43CB-BBA1-9243D28E06BE}"/>
              </a:ext>
            </a:extLst>
          </p:cNvPr>
          <p:cNvGrpSpPr/>
          <p:nvPr/>
        </p:nvGrpSpPr>
        <p:grpSpPr>
          <a:xfrm>
            <a:off x="1276144" y="3031768"/>
            <a:ext cx="1223744" cy="1150367"/>
            <a:chOff x="4729188" y="2544555"/>
            <a:chExt cx="1223744" cy="1150367"/>
          </a:xfrm>
        </p:grpSpPr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D8C9AC8B-D5C6-4A96-BAE0-863B67DB30EC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流程图: 磁盘 41">
              <a:extLst>
                <a:ext uri="{FF2B5EF4-FFF2-40B4-BE49-F238E27FC236}">
                  <a16:creationId xmlns:a16="http://schemas.microsoft.com/office/drawing/2014/main" id="{A72FEB2F-9D4F-462A-8D47-B2C5EC3E7277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81392AA2-79DA-4AE7-8229-55FCC63602AA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ERP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7C808FD5-156A-4A4E-9A85-C65330F9C3D7}"/>
              </a:ext>
            </a:extLst>
          </p:cNvPr>
          <p:cNvGrpSpPr/>
          <p:nvPr/>
        </p:nvGrpSpPr>
        <p:grpSpPr>
          <a:xfrm>
            <a:off x="1273181" y="4769079"/>
            <a:ext cx="1223744" cy="1150367"/>
            <a:chOff x="4729188" y="2544555"/>
            <a:chExt cx="1223744" cy="1150367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B11FB6DD-F8E6-436A-8653-09AF4E8C7585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流程图: 磁盘 45">
              <a:extLst>
                <a:ext uri="{FF2B5EF4-FFF2-40B4-BE49-F238E27FC236}">
                  <a16:creationId xmlns:a16="http://schemas.microsoft.com/office/drawing/2014/main" id="{C3C236E7-EB87-49B7-A21D-1FF37EF33C91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CEFE5836-800F-4B65-93D1-39128C51C99B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Touchpoint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cxnSp>
        <p:nvCxnSpPr>
          <p:cNvPr id="11" name="连接符: 肘形 10">
            <a:extLst>
              <a:ext uri="{FF2B5EF4-FFF2-40B4-BE49-F238E27FC236}">
                <a16:creationId xmlns:a16="http://schemas.microsoft.com/office/drawing/2014/main" id="{3CC1C22A-81DF-4ED9-B70D-87B4532907A9}"/>
              </a:ext>
            </a:extLst>
          </p:cNvPr>
          <p:cNvCxnSpPr>
            <a:cxnSpLocks/>
            <a:stCxn id="41" idx="3"/>
            <a:endCxn id="37" idx="1"/>
          </p:cNvCxnSpPr>
          <p:nvPr/>
        </p:nvCxnSpPr>
        <p:spPr>
          <a:xfrm>
            <a:off x="2499888" y="3606952"/>
            <a:ext cx="1631016" cy="64706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3A1BB129-02CF-468B-84CF-96379F6EEBE2}"/>
              </a:ext>
            </a:extLst>
          </p:cNvPr>
          <p:cNvCxnSpPr>
            <a:cxnSpLocks/>
            <a:stCxn id="45" idx="3"/>
            <a:endCxn id="37" idx="1"/>
          </p:cNvCxnSpPr>
          <p:nvPr/>
        </p:nvCxnSpPr>
        <p:spPr>
          <a:xfrm flipV="1">
            <a:off x="2496925" y="4254021"/>
            <a:ext cx="1633979" cy="109024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>
            <a:extLst>
              <a:ext uri="{FF2B5EF4-FFF2-40B4-BE49-F238E27FC236}">
                <a16:creationId xmlns:a16="http://schemas.microsoft.com/office/drawing/2014/main" id="{88549891-1BFF-437E-B79B-8884D1D36811}"/>
              </a:ext>
            </a:extLst>
          </p:cNvPr>
          <p:cNvCxnSpPr>
            <a:cxnSpLocks/>
            <a:stCxn id="37" idx="0"/>
            <a:endCxn id="33" idx="2"/>
          </p:cNvCxnSpPr>
          <p:nvPr/>
        </p:nvCxnSpPr>
        <p:spPr>
          <a:xfrm flipV="1">
            <a:off x="4742776" y="3077416"/>
            <a:ext cx="0" cy="6014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D49354E1-1D15-4695-9904-5F426D37ED7B}"/>
              </a:ext>
            </a:extLst>
          </p:cNvPr>
          <p:cNvCxnSpPr>
            <a:cxnSpLocks/>
            <a:stCxn id="33" idx="3"/>
            <a:endCxn id="23" idx="1"/>
          </p:cNvCxnSpPr>
          <p:nvPr/>
        </p:nvCxnSpPr>
        <p:spPr>
          <a:xfrm>
            <a:off x="5354648" y="2502233"/>
            <a:ext cx="1429260" cy="95321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223E47FB-0AAC-4B90-9376-7160886922BE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5354648" y="3481684"/>
            <a:ext cx="1429260" cy="77233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文本框 60">
            <a:extLst>
              <a:ext uri="{FF2B5EF4-FFF2-40B4-BE49-F238E27FC236}">
                <a16:creationId xmlns:a16="http://schemas.microsoft.com/office/drawing/2014/main" id="{70400D3F-B88E-4BF4-9C63-70046B6FD207}"/>
              </a:ext>
            </a:extLst>
          </p:cNvPr>
          <p:cNvSpPr txBox="1"/>
          <p:nvPr/>
        </p:nvSpPr>
        <p:spPr>
          <a:xfrm flipH="1">
            <a:off x="4145708" y="4850423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 19Tables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AF2E3316-5C75-442A-9593-199682C89F29}"/>
              </a:ext>
            </a:extLst>
          </p:cNvPr>
          <p:cNvSpPr txBox="1"/>
          <p:nvPr/>
        </p:nvSpPr>
        <p:spPr>
          <a:xfrm flipH="1">
            <a:off x="4123502" y="1669796"/>
            <a:ext cx="12089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 16Tables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63" name="直接箭头连接符 62">
            <a:extLst>
              <a:ext uri="{FF2B5EF4-FFF2-40B4-BE49-F238E27FC236}">
                <a16:creationId xmlns:a16="http://schemas.microsoft.com/office/drawing/2014/main" id="{EEFE3DC0-7122-4EF4-9455-EBEBA2793399}"/>
              </a:ext>
            </a:extLst>
          </p:cNvPr>
          <p:cNvCxnSpPr>
            <a:cxnSpLocks/>
            <a:stCxn id="23" idx="3"/>
            <a:endCxn id="28" idx="1"/>
          </p:cNvCxnSpPr>
          <p:nvPr/>
        </p:nvCxnSpPr>
        <p:spPr>
          <a:xfrm>
            <a:off x="8007652" y="3455447"/>
            <a:ext cx="12146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文本框 65">
            <a:extLst>
              <a:ext uri="{FF2B5EF4-FFF2-40B4-BE49-F238E27FC236}">
                <a16:creationId xmlns:a16="http://schemas.microsoft.com/office/drawing/2014/main" id="{DC54F5FA-7150-4F3A-8C43-831C79052907}"/>
              </a:ext>
            </a:extLst>
          </p:cNvPr>
          <p:cNvSpPr txBox="1"/>
          <p:nvPr/>
        </p:nvSpPr>
        <p:spPr>
          <a:xfrm flipH="1">
            <a:off x="5574968" y="2738671"/>
            <a:ext cx="12089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rPr>
              <a:t>Not Stable</a:t>
            </a:r>
          </a:p>
          <a:p>
            <a:pPr marL="0" marR="0" lvl="0" indent="0" algn="ctr" defTabSz="121913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b="1" kern="0" dirty="0">
                <a:solidFill>
                  <a:srgbClr val="C00000"/>
                </a:solidFill>
                <a:latin typeface="Arial" panose="020B0604020202020204" pitchFamily="34" charset="0"/>
                <a:ea typeface="Microsoft YaHei" panose="020B0503020204020204" pitchFamily="34" charset="-122"/>
                <a:sym typeface="Arial" panose="020B0604020202020204" pitchFamily="34" charset="0"/>
              </a:rPr>
              <a:t>May change frequently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B786BAED-7412-4DC3-B3D7-36B9CDC1EFA3}"/>
              </a:ext>
            </a:extLst>
          </p:cNvPr>
          <p:cNvGrpSpPr/>
          <p:nvPr/>
        </p:nvGrpSpPr>
        <p:grpSpPr>
          <a:xfrm>
            <a:off x="1253938" y="1311659"/>
            <a:ext cx="1223744" cy="1150367"/>
            <a:chOff x="4729188" y="2544555"/>
            <a:chExt cx="1223744" cy="1150367"/>
          </a:xfrm>
        </p:grpSpPr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71888EB0-8C2D-4433-8181-AAEF444B06C6}"/>
                </a:ext>
              </a:extLst>
            </p:cNvPr>
            <p:cNvSpPr/>
            <p:nvPr/>
          </p:nvSpPr>
          <p:spPr>
            <a:xfrm>
              <a:off x="4729188" y="2544555"/>
              <a:ext cx="1223744" cy="115036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9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9" name="流程图: 磁盘 68">
              <a:extLst>
                <a:ext uri="{FF2B5EF4-FFF2-40B4-BE49-F238E27FC236}">
                  <a16:creationId xmlns:a16="http://schemas.microsoft.com/office/drawing/2014/main" id="{F378DF5D-1464-4C56-96DB-51FE3DB94575}"/>
                </a:ext>
              </a:extLst>
            </p:cNvPr>
            <p:cNvSpPr/>
            <p:nvPr/>
          </p:nvSpPr>
          <p:spPr>
            <a:xfrm>
              <a:off x="5085914" y="2741708"/>
              <a:ext cx="495488" cy="383049"/>
            </a:xfrm>
            <a:prstGeom prst="flowChartMagneticDisk">
              <a:avLst/>
            </a:prstGeom>
            <a:solidFill>
              <a:srgbClr val="01516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7C01A11D-4D1A-46A9-AE27-A224AA734930}"/>
                </a:ext>
              </a:extLst>
            </p:cNvPr>
            <p:cNvSpPr txBox="1"/>
            <p:nvPr/>
          </p:nvSpPr>
          <p:spPr>
            <a:xfrm flipH="1">
              <a:off x="4729188" y="3220394"/>
              <a:ext cx="12089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+mn-cs"/>
                  <a:sym typeface="Arial" panose="020B0604020202020204" pitchFamily="34" charset="0"/>
                </a:rPr>
                <a:t>RDM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cxnSp>
        <p:nvCxnSpPr>
          <p:cNvPr id="72" name="连接符: 肘形 71">
            <a:extLst>
              <a:ext uri="{FF2B5EF4-FFF2-40B4-BE49-F238E27FC236}">
                <a16:creationId xmlns:a16="http://schemas.microsoft.com/office/drawing/2014/main" id="{B8F76C35-2D0B-4438-873F-DF89FB1CFB2D}"/>
              </a:ext>
            </a:extLst>
          </p:cNvPr>
          <p:cNvCxnSpPr>
            <a:cxnSpLocks/>
            <a:stCxn id="68" idx="3"/>
            <a:endCxn id="37" idx="1"/>
          </p:cNvCxnSpPr>
          <p:nvPr/>
        </p:nvCxnSpPr>
        <p:spPr>
          <a:xfrm>
            <a:off x="2477682" y="1886843"/>
            <a:ext cx="1653222" cy="2367178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连接符: 肘形 76">
            <a:extLst>
              <a:ext uri="{FF2B5EF4-FFF2-40B4-BE49-F238E27FC236}">
                <a16:creationId xmlns:a16="http://schemas.microsoft.com/office/drawing/2014/main" id="{C1AEA23E-7783-44F7-889E-291DB6BEF115}"/>
              </a:ext>
            </a:extLst>
          </p:cNvPr>
          <p:cNvCxnSpPr>
            <a:cxnSpLocks/>
            <a:stCxn id="45" idx="1"/>
            <a:endCxn id="68" idx="1"/>
          </p:cNvCxnSpPr>
          <p:nvPr/>
        </p:nvCxnSpPr>
        <p:spPr>
          <a:xfrm rot="10800000">
            <a:off x="1253939" y="1886843"/>
            <a:ext cx="19243" cy="3457420"/>
          </a:xfrm>
          <a:prstGeom prst="bentConnector3">
            <a:avLst>
              <a:gd name="adj1" fmla="val 277292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12064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</a:t>
            </a:r>
            <a:r>
              <a:rPr lang="en-US" altLang="zh-CN" dirty="0">
                <a:solidFill>
                  <a:srgbClr val="F65C00"/>
                </a:solidFill>
                <a:latin typeface="Arial"/>
                <a:ea typeface="等线 Light" panose="02010600030101010101" pitchFamily="2" charset="-122"/>
              </a:rPr>
              <a:t>Confirm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 Data Sco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4B3217AB-3D1A-4E94-B2D4-EE5B70B3E0FC}"/>
              </a:ext>
            </a:extLst>
          </p:cNvPr>
          <p:cNvSpPr/>
          <p:nvPr/>
        </p:nvSpPr>
        <p:spPr>
          <a:xfrm>
            <a:off x="2195677" y="890516"/>
            <a:ext cx="2820624" cy="332399"/>
          </a:xfrm>
          <a:prstGeom prst="roundRect">
            <a:avLst/>
          </a:prstGeom>
          <a:solidFill>
            <a:srgbClr val="658E49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DDP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D309095A-CD1B-415B-9F33-693D51612115}"/>
              </a:ext>
            </a:extLst>
          </p:cNvPr>
          <p:cNvSpPr/>
          <p:nvPr/>
        </p:nvSpPr>
        <p:spPr>
          <a:xfrm>
            <a:off x="8164455" y="890516"/>
            <a:ext cx="2582330" cy="332399"/>
          </a:xfrm>
          <a:prstGeom prst="roundRect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chpoi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96B3F5C-046C-49EF-B986-5422CCF8989D}"/>
              </a:ext>
            </a:extLst>
          </p:cNvPr>
          <p:cNvCxnSpPr>
            <a:cxnSpLocks/>
          </p:cNvCxnSpPr>
          <p:nvPr/>
        </p:nvCxnSpPr>
        <p:spPr>
          <a:xfrm>
            <a:off x="7357868" y="890516"/>
            <a:ext cx="0" cy="5303878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34BA7E95-CC5A-4506-90BB-8BA6005E5E22}"/>
              </a:ext>
            </a:extLst>
          </p:cNvPr>
          <p:cNvGraphicFramePr>
            <a:graphicFrameLocks noGrp="1"/>
          </p:cNvGraphicFramePr>
          <p:nvPr/>
        </p:nvGraphicFramePr>
        <p:xfrm>
          <a:off x="449139" y="1341361"/>
          <a:ext cx="6650159" cy="3526770"/>
        </p:xfrm>
        <a:graphic>
          <a:graphicData uri="http://schemas.openxmlformats.org/drawingml/2006/table">
            <a:tbl>
              <a:tblPr/>
              <a:tblGrid>
                <a:gridCol w="2484562">
                  <a:extLst>
                    <a:ext uri="{9D8B030D-6E8A-4147-A177-3AD203B41FA5}">
                      <a16:colId xmlns:a16="http://schemas.microsoft.com/office/drawing/2014/main" val="3981353698"/>
                    </a:ext>
                  </a:extLst>
                </a:gridCol>
                <a:gridCol w="1193800">
                  <a:extLst>
                    <a:ext uri="{9D8B030D-6E8A-4147-A177-3AD203B41FA5}">
                      <a16:colId xmlns:a16="http://schemas.microsoft.com/office/drawing/2014/main" val="753484437"/>
                    </a:ext>
                  </a:extLst>
                </a:gridCol>
                <a:gridCol w="2971797">
                  <a:extLst>
                    <a:ext uri="{9D8B030D-6E8A-4147-A177-3AD203B41FA5}">
                      <a16:colId xmlns:a16="http://schemas.microsoft.com/office/drawing/2014/main" val="3649980644"/>
                    </a:ext>
                  </a:extLst>
                </a:gridCol>
              </a:tblGrid>
              <a:tr h="1850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Table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ata Modu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Table Descrip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2325799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7" action="ppaction://hlinkfile"/>
                        </a:rPr>
                        <a:t>dim_Customer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ustomer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63328"/>
                  </a:ext>
                </a:extLst>
              </a:tr>
              <a:tr h="20193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8" action="ppaction://hlinkfile"/>
                        </a:rPr>
                        <a:t>dim_source_Customer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oncat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distributor code and end customer cod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155364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9" action="ppaction://hlinkfile"/>
                        </a:rPr>
                        <a:t>dim_Source_Product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oncat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distributor code and product cod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0937135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0" action="ppaction://hlinkfile"/>
                        </a:rPr>
                        <a:t>dim_Product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Product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5196757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1" action="ppaction://hlinkfile"/>
                        </a:rPr>
                        <a:t>dim_Territory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Position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0425338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2" action="ppaction://hlinkfile"/>
                        </a:rPr>
                        <a:t>dim_Sales_Representative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_Representativ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 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5022089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3" action="ppaction://hlinkfile"/>
                        </a:rPr>
                        <a:t>dim_Market_Code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 in Chi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7994111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4" action="ppaction://hlinkfile"/>
                        </a:rPr>
                        <a:t>rpt_Currency_Conversion_Rate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 in Chi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803177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5" action="ppaction://hlinkfile"/>
                        </a:rPr>
                        <a:t>rpt_GSA_Sales_Allocation_INTL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imilar to RPT sales Tab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485344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6" action="ppaction://hlinkfile"/>
                        </a:rPr>
                        <a:t>rpt_GSA_Sales_Allocation_Germany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No need in Chin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212666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7" action="ppaction://hlinkfile"/>
                        </a:rPr>
                        <a:t>fact_Account_Position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ccount Position Relationshi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417466"/>
                  </a:ext>
                </a:extLst>
              </a:tr>
              <a:tr h="2454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8" action="ppaction://hlinkfile"/>
                        </a:rPr>
                        <a:t>dim_TP_Account_Position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im Account 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628182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19" action="ppaction://hlinkfile"/>
                        </a:rPr>
                        <a:t>fact_Customer_Brand_Potential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Brand Potential (From TP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27613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20" action="ppaction://hlinkfile"/>
                        </a:rPr>
                        <a:t>dim_TP_Customer_Brand_Potential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im Brand Potential </a:t>
                      </a: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(From TP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6209499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21" action="ppaction://hlinkfile"/>
                        </a:rPr>
                        <a:t>fact_CallDetails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 (From TP)</a:t>
                      </a:r>
                      <a:endParaRPr lang="en-US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228840"/>
                  </a:ext>
                </a:extLst>
              </a:tr>
              <a:tr h="202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sng" strike="noStrike" dirty="0" err="1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  <a:hlinkClick r:id="rId22" action="ppaction://hlinkfile"/>
                        </a:rPr>
                        <a:t>rpt_Species_Alloc_Aligned_Sls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ion of Direct and Indirect 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7951343"/>
                  </a:ext>
                </a:extLst>
              </a:tr>
            </a:tbl>
          </a:graphicData>
        </a:graphic>
      </p:graphicFrame>
      <p:sp>
        <p:nvSpPr>
          <p:cNvPr id="16" name="箭头: 圆角右 15">
            <a:extLst>
              <a:ext uri="{FF2B5EF4-FFF2-40B4-BE49-F238E27FC236}">
                <a16:creationId xmlns:a16="http://schemas.microsoft.com/office/drawing/2014/main" id="{B663C177-26E1-45BC-A926-92227421AE23}"/>
              </a:ext>
            </a:extLst>
          </p:cNvPr>
          <p:cNvSpPr/>
          <p:nvPr/>
        </p:nvSpPr>
        <p:spPr>
          <a:xfrm flipV="1">
            <a:off x="833630" y="5249276"/>
            <a:ext cx="563368" cy="534725"/>
          </a:xfrm>
          <a:prstGeom prst="bentArrow">
            <a:avLst>
              <a:gd name="adj1" fmla="val 25000"/>
              <a:gd name="adj2" fmla="val 25000"/>
              <a:gd name="adj3" fmla="val 31250"/>
              <a:gd name="adj4" fmla="val 43750"/>
            </a:avLst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BE6EA9EA-288D-4FF4-9A4C-4920445086DA}"/>
              </a:ext>
            </a:extLst>
          </p:cNvPr>
          <p:cNvSpPr/>
          <p:nvPr/>
        </p:nvSpPr>
        <p:spPr>
          <a:xfrm>
            <a:off x="1597163" y="5441393"/>
            <a:ext cx="4952696" cy="40610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build 13 tables on China DDP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箭头: 下 16">
            <a:extLst>
              <a:ext uri="{FF2B5EF4-FFF2-40B4-BE49-F238E27FC236}">
                <a16:creationId xmlns:a16="http://schemas.microsoft.com/office/drawing/2014/main" id="{D8577FF3-C117-443A-8671-7DBF3FB0693A}"/>
              </a:ext>
            </a:extLst>
          </p:cNvPr>
          <p:cNvSpPr/>
          <p:nvPr/>
        </p:nvSpPr>
        <p:spPr>
          <a:xfrm>
            <a:off x="9366151" y="4992310"/>
            <a:ext cx="415733" cy="469900"/>
          </a:xfrm>
          <a:prstGeom prst="downArrow">
            <a:avLst/>
          </a:prstGeom>
          <a:solidFill>
            <a:srgbClr val="F65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B1FD526E-8BB0-4371-ACAA-7F0765C4C7F0}"/>
              </a:ext>
            </a:extLst>
          </p:cNvPr>
          <p:cNvSpPr/>
          <p:nvPr/>
        </p:nvSpPr>
        <p:spPr>
          <a:xfrm>
            <a:off x="7616439" y="5565571"/>
            <a:ext cx="3915158" cy="52609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 From Global DDP 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zh-CN" alt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data from MDE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43BFF768-E594-4213-98CC-FD71E112E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988471"/>
              </p:ext>
            </p:extLst>
          </p:nvPr>
        </p:nvGraphicFramePr>
        <p:xfrm>
          <a:off x="7907307" y="1290393"/>
          <a:ext cx="3217802" cy="3560441"/>
        </p:xfrm>
        <a:graphic>
          <a:graphicData uri="http://schemas.openxmlformats.org/drawingml/2006/table">
            <a:tbl>
              <a:tblPr/>
              <a:tblGrid>
                <a:gridCol w="1964357">
                  <a:extLst>
                    <a:ext uri="{9D8B030D-6E8A-4147-A177-3AD203B41FA5}">
                      <a16:colId xmlns:a16="http://schemas.microsoft.com/office/drawing/2014/main" val="77000315"/>
                    </a:ext>
                  </a:extLst>
                </a:gridCol>
                <a:gridCol w="1253445">
                  <a:extLst>
                    <a:ext uri="{9D8B030D-6E8A-4147-A177-3AD203B41FA5}">
                      <a16:colId xmlns:a16="http://schemas.microsoft.com/office/drawing/2014/main" val="3413839237"/>
                    </a:ext>
                  </a:extLst>
                </a:gridCol>
              </a:tblGrid>
              <a:tr h="1667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Table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Data Modu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5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343858"/>
                  </a:ext>
                </a:extLst>
              </a:tr>
              <a:tr h="1681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cc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3072419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account_affiliation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1786253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species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347154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ontac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1811182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territor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6241103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s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739551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9532577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account_posi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Master Dat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7765966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229339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ttende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l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6573178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s_event_acc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ve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0465107"/>
                  </a:ext>
                </a:extLst>
              </a:tr>
              <a:tr h="1905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vent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ve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9481237"/>
                  </a:ext>
                </a:extLst>
              </a:tr>
              <a:tr h="2521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691945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_memb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8435736"/>
                  </a:ext>
                </a:extLst>
              </a:tr>
              <a:tr h="2521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campaign_acc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mpaig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0078941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potential_brand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kn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393514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eu_account_species_potenti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kn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507556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ass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Unknow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7128836"/>
                  </a:ext>
                </a:extLst>
              </a:tr>
              <a:tr h="1528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ca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Oth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197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0173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4E8227-0A22-4D37-BC4D-85B995D213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4E8227-0A22-4D37-BC4D-85B995D21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D1F762D-7676-497E-B78B-AD52607CE010}"/>
              </a:ext>
            </a:extLst>
          </p:cNvPr>
          <p:cNvSpPr txBox="1">
            <a:spLocks/>
          </p:cNvSpPr>
          <p:nvPr/>
        </p:nvSpPr>
        <p:spPr>
          <a:xfrm>
            <a:off x="449139" y="350771"/>
            <a:ext cx="11293221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F65C00"/>
                </a:solidFill>
                <a:effectLst/>
                <a:uLnTx/>
                <a:uFillTx/>
                <a:latin typeface="Arial"/>
                <a:ea typeface="等线 Light" panose="02010600030101010101" pitchFamily="2" charset="-122"/>
                <a:cs typeface="+mj-cs"/>
                <a:sym typeface="Trebuchet MS" panose="020B0603020202020204" pitchFamily="34" charset="0"/>
              </a:rPr>
              <a:t>China Data Readiness Assessment Method – Data Classifica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65C00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406E8656-F090-4AA0-8054-E36D82DC564A}"/>
              </a:ext>
            </a:extLst>
          </p:cNvPr>
          <p:cNvGrpSpPr/>
          <p:nvPr/>
        </p:nvGrpSpPr>
        <p:grpSpPr>
          <a:xfrm>
            <a:off x="139700" y="924901"/>
            <a:ext cx="3594101" cy="2798398"/>
            <a:chOff x="449139" y="1028700"/>
            <a:chExt cx="2763962" cy="2504099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24D07A6A-D2AE-4B80-82EF-B5CDB7EBE6CC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" name="矩形: 圆角 1">
              <a:extLst>
                <a:ext uri="{FF2B5EF4-FFF2-40B4-BE49-F238E27FC236}">
                  <a16:creationId xmlns:a16="http://schemas.microsoft.com/office/drawing/2014/main" id="{CED58171-C8D3-4CFC-913B-6D290024F3DE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F65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Sales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FDAE6248-890C-4177-9621-A3804FD142C2}"/>
              </a:ext>
            </a:extLst>
          </p:cNvPr>
          <p:cNvGrpSpPr/>
          <p:nvPr/>
        </p:nvGrpSpPr>
        <p:grpSpPr>
          <a:xfrm>
            <a:off x="4589338" y="3723299"/>
            <a:ext cx="2763962" cy="2504099"/>
            <a:chOff x="449139" y="1028700"/>
            <a:chExt cx="2763962" cy="2504099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1EB563E-8779-4419-A4A4-00B2347C8800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EF9723E5-A0F6-4B69-A6F7-E3C607BD1641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658E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rket Campaign</a:t>
              </a:r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05428E3A-9BD1-4804-A9B0-4F582C7A7935}"/>
              </a:ext>
            </a:extLst>
          </p:cNvPr>
          <p:cNvGrpSpPr/>
          <p:nvPr/>
        </p:nvGrpSpPr>
        <p:grpSpPr>
          <a:xfrm>
            <a:off x="4168723" y="924901"/>
            <a:ext cx="3184577" cy="2681899"/>
            <a:chOff x="449139" y="1028700"/>
            <a:chExt cx="2763962" cy="2504099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41619D28-0DCD-4936-AAA3-50D53717F70D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11BE960C-772E-4F66-B2E5-5A187B80B715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0151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Master Data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962EE561-7B75-4683-BDFD-44637D8B7E87}"/>
              </a:ext>
            </a:extLst>
          </p:cNvPr>
          <p:cNvGrpSpPr/>
          <p:nvPr/>
        </p:nvGrpSpPr>
        <p:grpSpPr>
          <a:xfrm>
            <a:off x="8208838" y="924901"/>
            <a:ext cx="2763962" cy="2504099"/>
            <a:chOff x="449139" y="1028700"/>
            <a:chExt cx="2763962" cy="2504099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4B13FEA3-B56A-47AA-AD18-EA314F3DBAA8}"/>
                </a:ext>
              </a:extLst>
            </p:cNvPr>
            <p:cNvSpPr/>
            <p:nvPr/>
          </p:nvSpPr>
          <p:spPr>
            <a:xfrm>
              <a:off x="449140" y="1322999"/>
              <a:ext cx="2763961" cy="2209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:a16="http://schemas.microsoft.com/office/drawing/2014/main" id="{282708B9-919C-4CFB-B68B-9D5DB221568B}"/>
                </a:ext>
              </a:extLst>
            </p:cNvPr>
            <p:cNvSpPr/>
            <p:nvPr/>
          </p:nvSpPr>
          <p:spPr>
            <a:xfrm>
              <a:off x="449139" y="1028700"/>
              <a:ext cx="2763961" cy="332399"/>
            </a:xfrm>
            <a:prstGeom prst="roundRect">
              <a:avLst/>
            </a:prstGeom>
            <a:solidFill>
              <a:srgbClr val="0059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Arial" panose="020B0604020202020204" pitchFamily="34" charset="0"/>
                  <a:cs typeface="Arial" panose="020B0604020202020204" pitchFamily="34" charset="0"/>
                </a:rPr>
                <a:t>Call Activities</a:t>
              </a:r>
              <a:endParaRPr lang="zh-CN" alt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24933B96-F01C-4598-B350-3C75D1CD8EE8}"/>
              </a:ext>
            </a:extLst>
          </p:cNvPr>
          <p:cNvSpPr/>
          <p:nvPr/>
        </p:nvSpPr>
        <p:spPr>
          <a:xfrm>
            <a:off x="252288" y="1378138"/>
            <a:ext cx="3327400" cy="35889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Species_Alloc_Aligned_Sls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: 圆角 37">
            <a:extLst>
              <a:ext uri="{FF2B5EF4-FFF2-40B4-BE49-F238E27FC236}">
                <a16:creationId xmlns:a16="http://schemas.microsoft.com/office/drawing/2014/main" id="{2582CC1E-56F6-4E53-AF5D-E466982AD3F0}"/>
              </a:ext>
            </a:extLst>
          </p:cNvPr>
          <p:cNvSpPr/>
          <p:nvPr/>
        </p:nvSpPr>
        <p:spPr>
          <a:xfrm>
            <a:off x="4589338" y="1353387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Customer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矩形: 圆角 39">
            <a:extLst>
              <a:ext uri="{FF2B5EF4-FFF2-40B4-BE49-F238E27FC236}">
                <a16:creationId xmlns:a16="http://schemas.microsoft.com/office/drawing/2014/main" id="{825B8E55-9C84-42AE-AFD5-8B0BDCEDAF94}"/>
              </a:ext>
            </a:extLst>
          </p:cNvPr>
          <p:cNvSpPr/>
          <p:nvPr/>
        </p:nvSpPr>
        <p:spPr>
          <a:xfrm>
            <a:off x="4589338" y="1668225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source_Customer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: 圆角 40">
            <a:extLst>
              <a:ext uri="{FF2B5EF4-FFF2-40B4-BE49-F238E27FC236}">
                <a16:creationId xmlns:a16="http://schemas.microsoft.com/office/drawing/2014/main" id="{37DA57C1-1A09-4280-9EF5-32465E54762B}"/>
              </a:ext>
            </a:extLst>
          </p:cNvPr>
          <p:cNvSpPr/>
          <p:nvPr/>
        </p:nvSpPr>
        <p:spPr>
          <a:xfrm>
            <a:off x="4589338" y="2927577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Sales_Representative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7F68A07E-AC19-40F5-92B3-D4323486446F}"/>
              </a:ext>
            </a:extLst>
          </p:cNvPr>
          <p:cNvSpPr/>
          <p:nvPr/>
        </p:nvSpPr>
        <p:spPr>
          <a:xfrm>
            <a:off x="4589338" y="2297901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Source_Product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55CD8A75-B795-47B7-A7D9-98F444E529A1}"/>
              </a:ext>
            </a:extLst>
          </p:cNvPr>
          <p:cNvSpPr/>
          <p:nvPr/>
        </p:nvSpPr>
        <p:spPr>
          <a:xfrm>
            <a:off x="4589338" y="1983063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Product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67E15514-8C36-4B00-9332-6C63592B45E0}"/>
              </a:ext>
            </a:extLst>
          </p:cNvPr>
          <p:cNvSpPr/>
          <p:nvPr/>
        </p:nvSpPr>
        <p:spPr>
          <a:xfrm>
            <a:off x="4589338" y="2612739"/>
            <a:ext cx="2462400" cy="25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Territory</a:t>
            </a:r>
            <a:endParaRPr lang="en-US" altLang="zh-CN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7F91280E-A642-4132-BB8D-88EBE9D3A679}"/>
              </a:ext>
            </a:extLst>
          </p:cNvPr>
          <p:cNvSpPr/>
          <p:nvPr/>
        </p:nvSpPr>
        <p:spPr>
          <a:xfrm>
            <a:off x="8643762" y="1794282"/>
            <a:ext cx="1894111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_CallDetails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F43B7B9F-D179-4FE7-BFBB-88C3F478788C}"/>
              </a:ext>
            </a:extLst>
          </p:cNvPr>
          <p:cNvSpPr/>
          <p:nvPr/>
        </p:nvSpPr>
        <p:spPr>
          <a:xfrm>
            <a:off x="252288" y="1838573"/>
            <a:ext cx="3327400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_Customer_Brand_Potential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59211CAE-9DD4-49E9-9360-D108111ACEE5}"/>
              </a:ext>
            </a:extLst>
          </p:cNvPr>
          <p:cNvSpPr/>
          <p:nvPr/>
        </p:nvSpPr>
        <p:spPr>
          <a:xfrm>
            <a:off x="252288" y="2272517"/>
            <a:ext cx="3327400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_TP_Customer_Brand_Potential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矩形: 圆角 48">
            <a:extLst>
              <a:ext uri="{FF2B5EF4-FFF2-40B4-BE49-F238E27FC236}">
                <a16:creationId xmlns:a16="http://schemas.microsoft.com/office/drawing/2014/main" id="{4CEDAAE1-1CF7-4239-B440-B3BF0EFCB090}"/>
              </a:ext>
            </a:extLst>
          </p:cNvPr>
          <p:cNvSpPr/>
          <p:nvPr/>
        </p:nvSpPr>
        <p:spPr>
          <a:xfrm>
            <a:off x="252288" y="2706461"/>
            <a:ext cx="3327400" cy="33239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t_GSA_Sales_Allocation_INTL</a:t>
            </a:r>
            <a:endParaRPr lang="zh-CN" alt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398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LEugPWIfHRvxLqfK3Oz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Zz5Pi58EJ6EExYf9Ja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u0EJE_0j5JGRUjY8eL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Ht.pF..KR1TX18Byxo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Lx1RfGlMO_2OLmtbEy0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VhMVTXOWXxao5Kynwom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nbnOffrz17n8W6jykBu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yyTsl.tamwViGWFQv8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c.n8Vz2LuPkSTJ_RBYc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dGqHwZTzCdc4scFDgA_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GKyAH26FObyGsYAoF4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cJayVmLHuJjlNLiAC87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ZeZhVnbNUQOcbH6p4L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dqFoiosj9Gso4oyvz02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VfAzw9InuEY4tcSf0lj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tDupaV3k4oq6lzZP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52SYAbY7A5j4sTovgyA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JZvEukaOT8SAIlrZYb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uoqEBk_6y1WU1hxDlM6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PFcnrPJnUHyPYux9Ls4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hVtpUuHEvlGXl3iSxc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octhTa.h6VNr40FIEP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i.Vx08Rralm6Og_L9k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VPX54xK5ZaJLhv59E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pExr2_h_jq4uo10JBi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bIFno74tJyHUPMZSk8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O0M.OXVOn8v8JsVcHz1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CYkM3RxvbQIqmHttw0u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WWve_IfM3_G.kNrf4T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LnWkm9AegPaQ2PSXNfx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hnqf6d4yy0ZHdlhKg2T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dGqHwZTzCdc4scFDgA_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rztbpMXewwDOoK4v6rI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xwAib_adqfhlps7bMI.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KKSpriDRyL3HlSfX6d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nG.ujYkt1Dd6Nm8Ba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dsiOzxjdb1qm8of_zU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fuEWq9EodmLrFfdN0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TD1ctNJrj1B36uEYuJ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DON_fDmvYELdASSo6J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WcNKybxDFDB6ufM.os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5X.FE0oVrvdcczFrY_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diwk090eMyVoux1B5M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DyHubLx68yoSnPPcmg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UX7fdTszjyiuwq8BuU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9umI3sCCJuZDGSF6vD1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ElgsUxxeVER6JHkFj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Msxe62WIVXRTHtp1aE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_qDrXiiYocGe3wboBk2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20cXhVbThdoC9HIY9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Rt95L0gptoV0hu14J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Mr9Sx5LzkDBnPmkKe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2QItkXVWpJ_bJ4410p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eAWVloYkglT.gepdji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c_KCjvjFFdAz3ZEc32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437LwUDXxYvr6HdQ1iW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PY63C3s12kAsVQk2ps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PuGlhrvKG7obiMyt3J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hE4uaPRq990mIFR5oV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_SmnhHb3UakRmK16ph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AEg2JaMCmGXmMfJY4z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csfq2N8E0_ygnjMuAv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6ivFMiqBIDaI2df8au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_T_jh4UchJ8FcEiQCy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yl0pSCMO4J0RQdqzq_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MGAAkn1b53VritE1bVA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9t.BIRwctDpHOGTqY8X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jGCtXiNHu8U2BfgEnE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d3ZLRKjPIx09J8Rc7nX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GvBif_EYkl_wIxMuMuF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RazCYLXj_srmjE02o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4blmO.R.VYXHOm6QQ36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hpti618teRV5SFg4mx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Zoetis Grid 16:9">
  <a:themeElements>
    <a:clrScheme name="ddc">
      <a:dk1>
        <a:srgbClr val="595756"/>
      </a:dk1>
      <a:lt1>
        <a:srgbClr val="FFFFFF"/>
      </a:lt1>
      <a:dk2>
        <a:srgbClr val="F65C00"/>
      </a:dk2>
      <a:lt2>
        <a:srgbClr val="F2F2F2"/>
      </a:lt2>
      <a:accent1>
        <a:srgbClr val="502C1E"/>
      </a:accent1>
      <a:accent2>
        <a:srgbClr val="B04300"/>
      </a:accent2>
      <a:accent3>
        <a:srgbClr val="FFC000"/>
      </a:accent3>
      <a:accent4>
        <a:srgbClr val="6FB1C8"/>
      </a:accent4>
      <a:accent5>
        <a:srgbClr val="595756"/>
      </a:accent5>
      <a:accent6>
        <a:srgbClr val="00594E"/>
      </a:accent6>
      <a:hlink>
        <a:srgbClr val="00594E"/>
      </a:hlink>
      <a:folHlink>
        <a:srgbClr val="00594E"/>
      </a:folHlink>
    </a:clrScheme>
    <a:fontScheme name="xxx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5DE0DDD67E94D89A8239082DFE659" ma:contentTypeVersion="16" ma:contentTypeDescription="Create a new document." ma:contentTypeScope="" ma:versionID="14f4a054ce9da2c59b4e27cb5a136ad2">
  <xsd:schema xmlns:xsd="http://www.w3.org/2001/XMLSchema" xmlns:xs="http://www.w3.org/2001/XMLSchema" xmlns:p="http://schemas.microsoft.com/office/2006/metadata/properties" xmlns:ns2="0822ba38-0cba-4360-8fd9-5e5c515fc6fb" xmlns:ns3="2aa9fad5-6c4d-48cc-a860-43bcbbd0d887" targetNamespace="http://schemas.microsoft.com/office/2006/metadata/properties" ma:root="true" ma:fieldsID="81b702f45d50ac1f27803bfe16b6c5a7" ns2:_="" ns3:_="">
    <xsd:import namespace="0822ba38-0cba-4360-8fd9-5e5c515fc6fb"/>
    <xsd:import namespace="2aa9fad5-6c4d-48cc-a860-43bcbbd0d8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22ba38-0cba-4360-8fd9-5e5c515fc6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5aae34d-074d-4b1f-9483-a345d613a3e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a9fad5-6c4d-48cc-a860-43bcbbd0d887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ed78f44f-c5e7-4c8e-a348-a335c3c46149}" ma:internalName="TaxCatchAll" ma:showField="CatchAllData" ma:web="2aa9fad5-6c4d-48cc-a860-43bcbbd0d88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16A76F-B7B5-471F-AD9D-FCC497ACE69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4CDC46-486B-4926-9A19-EA4B41E35B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22ba38-0cba-4360-8fd9-5e5c515fc6fb"/>
    <ds:schemaRef ds:uri="2aa9fad5-6c4d-48cc-a860-43bcbbd0d8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53</TotalTime>
  <Words>3434</Words>
  <Application>Microsoft Office PowerPoint</Application>
  <PresentationFormat>Widescreen</PresentationFormat>
  <Paragraphs>657</Paragraphs>
  <Slides>45</Slides>
  <Notes>19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5" baseType="lpstr">
      <vt:lpstr>-apple-system</vt:lpstr>
      <vt:lpstr>Menlo</vt:lpstr>
      <vt:lpstr>等线</vt:lpstr>
      <vt:lpstr>等线 Light</vt:lpstr>
      <vt:lpstr>Arial</vt:lpstr>
      <vt:lpstr>Trebuchet MS</vt:lpstr>
      <vt:lpstr>Wingdings</vt:lpstr>
      <vt:lpstr>3_Zoetis Grid 16:9</vt:lpstr>
      <vt:lpstr>Office 主题​​</vt:lpstr>
      <vt:lpstr>think-cell Slide</vt:lpstr>
      <vt:lpstr>NGSE China – Data Readiness Assessment</vt:lpstr>
      <vt:lpstr>Objectives of Assessment Report</vt:lpstr>
      <vt:lpstr>What is Next Generation Sales Engine? </vt:lpstr>
      <vt:lpstr> Frontend Tabs in NGSE that support your daily workflow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pt_Species_Alloc_Aligned_Sls - Summarize </vt:lpstr>
      <vt:lpstr>PowerPoint Presentation</vt:lpstr>
      <vt:lpstr>PowerPoint Presentation</vt:lpstr>
      <vt:lpstr>rpt_Species_Alloc_Aligned_Sls - Assessment ResultD</vt:lpstr>
      <vt:lpstr>PowerPoint Presentation</vt:lpstr>
      <vt:lpstr>Dim_customer - Assessment ResultD</vt:lpstr>
      <vt:lpstr>PowerPoint Presentation</vt:lpstr>
      <vt:lpstr>Dim_product - Assessment ResultD</vt:lpstr>
      <vt:lpstr>PowerPoint Presentation</vt:lpstr>
      <vt:lpstr>Dim_source_product - Assessment ResultD</vt:lpstr>
      <vt:lpstr>PowerPoint Presentation</vt:lpstr>
      <vt:lpstr>Dim_source_customer - Assessment ResultD</vt:lpstr>
      <vt:lpstr>PowerPoint Presentation</vt:lpstr>
      <vt:lpstr>Dim_territory - Assessment ResultD</vt:lpstr>
      <vt:lpstr>PowerPoint Presentation</vt:lpstr>
      <vt:lpstr>Dim_ sales_representative - Assessment ResultD</vt:lpstr>
      <vt:lpstr>PowerPoint Presentation</vt:lpstr>
      <vt:lpstr>Dim_ tp_account_position - Assessment ResultD</vt:lpstr>
      <vt:lpstr>PowerPoint Presentation</vt:lpstr>
      <vt:lpstr>fact_account_position - Assessment ResultD</vt:lpstr>
      <vt:lpstr>dim_Sales_Organization and dim_Market_Code - Assessment ResultD</vt:lpstr>
      <vt:lpstr>PowerPoint Presentation</vt:lpstr>
      <vt:lpstr>PowerPoint Presentation</vt:lpstr>
      <vt:lpstr>Roadmap for 2024</vt:lpstr>
    </vt:vector>
  </TitlesOfParts>
  <Company>Zoetis I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GSE China – Data Readiness Assessment</dc:title>
  <dc:creator>Zhu, Joy</dc:creator>
  <cp:lastModifiedBy>Bin, Zhan</cp:lastModifiedBy>
  <cp:revision>45</cp:revision>
  <dcterms:created xsi:type="dcterms:W3CDTF">2023-06-14T03:31:25Z</dcterms:created>
  <dcterms:modified xsi:type="dcterms:W3CDTF">2024-01-03T02:37:54Z</dcterms:modified>
</cp:coreProperties>
</file>